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34" r:id="rId4"/>
  </p:sldMasterIdLst>
  <p:notesMasterIdLst>
    <p:notesMasterId r:id="rId19"/>
  </p:notesMasterIdLst>
  <p:handoutMasterIdLst>
    <p:handoutMasterId r:id="rId20"/>
  </p:handoutMasterIdLst>
  <p:sldIdLst>
    <p:sldId id="3724" r:id="rId5"/>
    <p:sldId id="3788" r:id="rId6"/>
    <p:sldId id="3785" r:id="rId7"/>
    <p:sldId id="3786" r:id="rId8"/>
    <p:sldId id="3790" r:id="rId9"/>
    <p:sldId id="3791" r:id="rId10"/>
    <p:sldId id="3794" r:id="rId11"/>
    <p:sldId id="3793" r:id="rId12"/>
    <p:sldId id="3792" r:id="rId13"/>
    <p:sldId id="3796" r:id="rId14"/>
    <p:sldId id="3787" r:id="rId15"/>
    <p:sldId id="3799" r:id="rId16"/>
    <p:sldId id="3798" r:id="rId17"/>
    <p:sldId id="3770" r:id="rId18"/>
  </p:sldIdLst>
  <p:sldSz cx="12192000" cy="6858000"/>
  <p:notesSz cx="7104063" cy="10234613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B638"/>
    <a:srgbClr val="FFFFFF"/>
    <a:srgbClr val="FF791E"/>
    <a:srgbClr val="C4262E"/>
    <a:srgbClr val="F8F8F8"/>
    <a:srgbClr val="EBEBEB"/>
    <a:srgbClr val="EEEEEE"/>
    <a:srgbClr val="D13B3B"/>
    <a:srgbClr val="F6D8D8"/>
    <a:srgbClr val="5456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5198D8-8655-4E95-B80C-268FAF1F5862}" v="215" dt="2025-11-28T13:56:34.900"/>
  </p1510:revLst>
</p1510:revInfo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29" autoAdjust="0"/>
  </p:normalViewPr>
  <p:slideViewPr>
    <p:cSldViewPr snapToGrid="0">
      <p:cViewPr varScale="1">
        <p:scale>
          <a:sx n="102" d="100"/>
          <a:sy n="102" d="100"/>
        </p:scale>
        <p:origin x="918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5" d="100"/>
          <a:sy n="75" d="100"/>
        </p:scale>
        <p:origin x="3954" y="66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nninger, Christian" userId="f256076c-be75-4ba0-9fbc-fcb58856680c" providerId="ADAL" clId="{B68CE9EA-A3DC-4681-81A8-EBC70DAABE6E}"/>
    <pc:docChg chg="undo custSel addSld delSld modSld">
      <pc:chgData name="Ganninger, Christian" userId="f256076c-be75-4ba0-9fbc-fcb58856680c" providerId="ADAL" clId="{B68CE9EA-A3DC-4681-81A8-EBC70DAABE6E}" dt="2024-12-06T12:34:23.245" v="2762" actId="20577"/>
      <pc:docMkLst>
        <pc:docMk/>
      </pc:docMkLst>
      <pc:sldChg chg="del">
        <pc:chgData name="Ganninger, Christian" userId="f256076c-be75-4ba0-9fbc-fcb58856680c" providerId="ADAL" clId="{B68CE9EA-A3DC-4681-81A8-EBC70DAABE6E}" dt="2024-12-02T13:01:30.671" v="1203" actId="47"/>
        <pc:sldMkLst>
          <pc:docMk/>
          <pc:sldMk cId="420011485" sldId="1163"/>
        </pc:sldMkLst>
      </pc:sldChg>
      <pc:sldChg chg="addSp modSp mod">
        <pc:chgData name="Ganninger, Christian" userId="f256076c-be75-4ba0-9fbc-fcb58856680c" providerId="ADAL" clId="{B68CE9EA-A3DC-4681-81A8-EBC70DAABE6E}" dt="2024-12-04T10:48:35.836" v="2743" actId="20577"/>
        <pc:sldMkLst>
          <pc:docMk/>
          <pc:sldMk cId="514169540" sldId="1171"/>
        </pc:sldMkLst>
      </pc:sldChg>
      <pc:sldChg chg="addSp modSp mod">
        <pc:chgData name="Ganninger, Christian" userId="f256076c-be75-4ba0-9fbc-fcb58856680c" providerId="ADAL" clId="{B68CE9EA-A3DC-4681-81A8-EBC70DAABE6E}" dt="2024-12-06T12:32:22.468" v="2744" actId="6549"/>
        <pc:sldMkLst>
          <pc:docMk/>
          <pc:sldMk cId="1649721373" sldId="3724"/>
        </pc:sldMkLst>
      </pc:sldChg>
      <pc:sldChg chg="addSp delSp modSp mod">
        <pc:chgData name="Ganninger, Christian" userId="f256076c-be75-4ba0-9fbc-fcb58856680c" providerId="ADAL" clId="{B68CE9EA-A3DC-4681-81A8-EBC70DAABE6E}" dt="2024-12-02T12:38:34.699" v="244" actId="14100"/>
        <pc:sldMkLst>
          <pc:docMk/>
          <pc:sldMk cId="1078372322" sldId="3726"/>
        </pc:sldMkLst>
      </pc:sldChg>
      <pc:sldChg chg="del">
        <pc:chgData name="Ganninger, Christian" userId="f256076c-be75-4ba0-9fbc-fcb58856680c" providerId="ADAL" clId="{B68CE9EA-A3DC-4681-81A8-EBC70DAABE6E}" dt="2024-12-02T13:01:37.098" v="1208" actId="47"/>
        <pc:sldMkLst>
          <pc:docMk/>
          <pc:sldMk cId="643515301" sldId="3771"/>
        </pc:sldMkLst>
      </pc:sldChg>
      <pc:sldChg chg="addSp delSp modSp mod">
        <pc:chgData name="Ganninger, Christian" userId="f256076c-be75-4ba0-9fbc-fcb58856680c" providerId="ADAL" clId="{B68CE9EA-A3DC-4681-81A8-EBC70DAABE6E}" dt="2024-12-06T12:34:23.245" v="2762" actId="20577"/>
        <pc:sldMkLst>
          <pc:docMk/>
          <pc:sldMk cId="3309345998" sldId="3772"/>
        </pc:sldMkLst>
      </pc:sldChg>
      <pc:sldChg chg="modSp mod">
        <pc:chgData name="Ganninger, Christian" userId="f256076c-be75-4ba0-9fbc-fcb58856680c" providerId="ADAL" clId="{B68CE9EA-A3DC-4681-81A8-EBC70DAABE6E}" dt="2024-12-02T12:39:26.843" v="295" actId="6549"/>
        <pc:sldMkLst>
          <pc:docMk/>
          <pc:sldMk cId="3465201959" sldId="3773"/>
        </pc:sldMkLst>
      </pc:sldChg>
      <pc:sldChg chg="addSp delSp modSp mod">
        <pc:chgData name="Ganninger, Christian" userId="f256076c-be75-4ba0-9fbc-fcb58856680c" providerId="ADAL" clId="{B68CE9EA-A3DC-4681-81A8-EBC70DAABE6E}" dt="2024-12-04T10:44:46.362" v="2729" actId="20577"/>
        <pc:sldMkLst>
          <pc:docMk/>
          <pc:sldMk cId="3244264148" sldId="3774"/>
        </pc:sldMkLst>
      </pc:sldChg>
      <pc:sldChg chg="modSp mod">
        <pc:chgData name="Ganninger, Christian" userId="f256076c-be75-4ba0-9fbc-fcb58856680c" providerId="ADAL" clId="{B68CE9EA-A3DC-4681-81A8-EBC70DAABE6E}" dt="2024-12-02T15:17:38.517" v="2005" actId="6549"/>
        <pc:sldMkLst>
          <pc:docMk/>
          <pc:sldMk cId="802185115" sldId="3775"/>
        </pc:sldMkLst>
      </pc:sldChg>
      <pc:sldChg chg="del">
        <pc:chgData name="Ganninger, Christian" userId="f256076c-be75-4ba0-9fbc-fcb58856680c" providerId="ADAL" clId="{B68CE9EA-A3DC-4681-81A8-EBC70DAABE6E}" dt="2024-12-02T13:01:31.805" v="1204" actId="47"/>
        <pc:sldMkLst>
          <pc:docMk/>
          <pc:sldMk cId="2454800447" sldId="3776"/>
        </pc:sldMkLst>
      </pc:sldChg>
      <pc:sldChg chg="del">
        <pc:chgData name="Ganninger, Christian" userId="f256076c-be75-4ba0-9fbc-fcb58856680c" providerId="ADAL" clId="{B68CE9EA-A3DC-4681-81A8-EBC70DAABE6E}" dt="2024-12-02T13:01:32.670" v="1205" actId="47"/>
        <pc:sldMkLst>
          <pc:docMk/>
          <pc:sldMk cId="1243020427" sldId="3777"/>
        </pc:sldMkLst>
      </pc:sldChg>
      <pc:sldChg chg="del">
        <pc:chgData name="Ganninger, Christian" userId="f256076c-be75-4ba0-9fbc-fcb58856680c" providerId="ADAL" clId="{B68CE9EA-A3DC-4681-81A8-EBC70DAABE6E}" dt="2024-12-02T13:01:33.241" v="1206" actId="47"/>
        <pc:sldMkLst>
          <pc:docMk/>
          <pc:sldMk cId="4110100025" sldId="3778"/>
        </pc:sldMkLst>
      </pc:sldChg>
      <pc:sldChg chg="del">
        <pc:chgData name="Ganninger, Christian" userId="f256076c-be75-4ba0-9fbc-fcb58856680c" providerId="ADAL" clId="{B68CE9EA-A3DC-4681-81A8-EBC70DAABE6E}" dt="2024-12-02T13:01:33.842" v="1207" actId="47"/>
        <pc:sldMkLst>
          <pc:docMk/>
          <pc:sldMk cId="4032316845" sldId="3779"/>
        </pc:sldMkLst>
      </pc:sldChg>
      <pc:sldChg chg="delSp modSp mod">
        <pc:chgData name="Ganninger, Christian" userId="f256076c-be75-4ba0-9fbc-fcb58856680c" providerId="ADAL" clId="{B68CE9EA-A3DC-4681-81A8-EBC70DAABE6E}" dt="2024-12-04T10:45:50.647" v="2737" actId="6549"/>
        <pc:sldMkLst>
          <pc:docMk/>
          <pc:sldMk cId="2542255810" sldId="3780"/>
        </pc:sldMkLst>
      </pc:sldChg>
      <pc:sldChg chg="addSp delSp modSp add mod">
        <pc:chgData name="Ganninger, Christian" userId="f256076c-be75-4ba0-9fbc-fcb58856680c" providerId="ADAL" clId="{B68CE9EA-A3DC-4681-81A8-EBC70DAABE6E}" dt="2024-12-04T10:46:33.680" v="2739" actId="20577"/>
        <pc:sldMkLst>
          <pc:docMk/>
          <pc:sldMk cId="2482609978" sldId="3781"/>
        </pc:sldMkLst>
      </pc:sldChg>
      <pc:sldChg chg="addSp delSp modSp add mod">
        <pc:chgData name="Ganninger, Christian" userId="f256076c-be75-4ba0-9fbc-fcb58856680c" providerId="ADAL" clId="{B68CE9EA-A3DC-4681-81A8-EBC70DAABE6E}" dt="2024-12-02T15:17:17.686" v="1984" actId="20577"/>
        <pc:sldMkLst>
          <pc:docMk/>
          <pc:sldMk cId="2564104371" sldId="3782"/>
        </pc:sldMkLst>
      </pc:sldChg>
      <pc:sldChg chg="addSp modSp new mod">
        <pc:chgData name="Ganninger, Christian" userId="f256076c-be75-4ba0-9fbc-fcb58856680c" providerId="ADAL" clId="{B68CE9EA-A3DC-4681-81A8-EBC70DAABE6E}" dt="2024-12-02T15:30:49.092" v="2659" actId="20577"/>
        <pc:sldMkLst>
          <pc:docMk/>
          <pc:sldMk cId="643929132" sldId="3783"/>
        </pc:sldMkLst>
      </pc:sldChg>
    </pc:docChg>
  </pc:docChgLst>
  <pc:docChgLst>
    <pc:chgData name="Ganninger, Christian" userId="f256076c-be75-4ba0-9fbc-fcb58856680c" providerId="ADAL" clId="{4E66BAEB-BF02-4CBD-9FCA-E03B0A1084DE}"/>
    <pc:docChg chg="undo redo custSel addSld delSld modSld sldOrd">
      <pc:chgData name="Ganninger, Christian" userId="f256076c-be75-4ba0-9fbc-fcb58856680c" providerId="ADAL" clId="{4E66BAEB-BF02-4CBD-9FCA-E03B0A1084DE}" dt="2025-11-28T14:01:58.111" v="7109" actId="478"/>
      <pc:docMkLst>
        <pc:docMk/>
      </pc:docMkLst>
      <pc:sldChg chg="del">
        <pc:chgData name="Ganninger, Christian" userId="f256076c-be75-4ba0-9fbc-fcb58856680c" providerId="ADAL" clId="{4E66BAEB-BF02-4CBD-9FCA-E03B0A1084DE}" dt="2025-11-27T09:25:00.532" v="4872" actId="47"/>
        <pc:sldMkLst>
          <pc:docMk/>
          <pc:sldMk cId="514169540" sldId="1171"/>
        </pc:sldMkLst>
      </pc:sldChg>
      <pc:sldChg chg="addSp delSp modSp mod">
        <pc:chgData name="Ganninger, Christian" userId="f256076c-be75-4ba0-9fbc-fcb58856680c" providerId="ADAL" clId="{4E66BAEB-BF02-4CBD-9FCA-E03B0A1084DE}" dt="2025-11-25T15:36:04.599" v="2164" actId="20577"/>
        <pc:sldMkLst>
          <pc:docMk/>
          <pc:sldMk cId="1649721373" sldId="3724"/>
        </pc:sldMkLst>
        <pc:spChg chg="mod">
          <ac:chgData name="Ganninger, Christian" userId="f256076c-be75-4ba0-9fbc-fcb58856680c" providerId="ADAL" clId="{4E66BAEB-BF02-4CBD-9FCA-E03B0A1084DE}" dt="2025-11-14T10:31:36.308" v="26"/>
          <ac:spMkLst>
            <pc:docMk/>
            <pc:sldMk cId="1649721373" sldId="3724"/>
            <ac:spMk id="10" creationId="{C0F81A3C-DE91-4ACA-9021-0F97C454C809}"/>
          </ac:spMkLst>
        </pc:spChg>
        <pc:spChg chg="mod">
          <ac:chgData name="Ganninger, Christian" userId="f256076c-be75-4ba0-9fbc-fcb58856680c" providerId="ADAL" clId="{4E66BAEB-BF02-4CBD-9FCA-E03B0A1084DE}" dt="2025-11-25T15:36:04.599" v="2164" actId="20577"/>
          <ac:spMkLst>
            <pc:docMk/>
            <pc:sldMk cId="1649721373" sldId="3724"/>
            <ac:spMk id="12" creationId="{0608884C-3B29-465D-94E5-A06A84A4092C}"/>
          </ac:spMkLst>
        </pc:spChg>
        <pc:spChg chg="mod">
          <ac:chgData name="Ganninger, Christian" userId="f256076c-be75-4ba0-9fbc-fcb58856680c" providerId="ADAL" clId="{4E66BAEB-BF02-4CBD-9FCA-E03B0A1084DE}" dt="2025-11-14T10:29:05.741" v="19" actId="20577"/>
          <ac:spMkLst>
            <pc:docMk/>
            <pc:sldMk cId="1649721373" sldId="3724"/>
            <ac:spMk id="13" creationId="{AB3189BD-7B36-43F7-8C7F-DEC33D54D259}"/>
          </ac:spMkLst>
        </pc:spChg>
        <pc:picChg chg="add del">
          <ac:chgData name="Ganninger, Christian" userId="f256076c-be75-4ba0-9fbc-fcb58856680c" providerId="ADAL" clId="{4E66BAEB-BF02-4CBD-9FCA-E03B0A1084DE}" dt="2025-11-14T10:28:57.161" v="15" actId="478"/>
          <ac:picMkLst>
            <pc:docMk/>
            <pc:sldMk cId="1649721373" sldId="3724"/>
            <ac:picMk id="18434" creationId="{25FF782E-FF02-4788-917C-65ED11DD0A99}"/>
          </ac:picMkLst>
        </pc:picChg>
      </pc:sldChg>
      <pc:sldChg chg="del">
        <pc:chgData name="Ganninger, Christian" userId="f256076c-be75-4ba0-9fbc-fcb58856680c" providerId="ADAL" clId="{4E66BAEB-BF02-4CBD-9FCA-E03B0A1084DE}" dt="2025-11-14T10:29:15.443" v="20" actId="47"/>
        <pc:sldMkLst>
          <pc:docMk/>
          <pc:sldMk cId="1078372322" sldId="3726"/>
        </pc:sldMkLst>
      </pc:sldChg>
      <pc:sldChg chg="del">
        <pc:chgData name="Ganninger, Christian" userId="f256076c-be75-4ba0-9fbc-fcb58856680c" providerId="ADAL" clId="{4E66BAEB-BF02-4CBD-9FCA-E03B0A1084DE}" dt="2025-11-27T09:24:52.240" v="4866" actId="47"/>
        <pc:sldMkLst>
          <pc:docMk/>
          <pc:sldMk cId="3309345998" sldId="3772"/>
        </pc:sldMkLst>
      </pc:sldChg>
      <pc:sldChg chg="del">
        <pc:chgData name="Ganninger, Christian" userId="f256076c-be75-4ba0-9fbc-fcb58856680c" providerId="ADAL" clId="{4E66BAEB-BF02-4CBD-9FCA-E03B0A1084DE}" dt="2025-11-27T09:25:03.491" v="4875" actId="47"/>
        <pc:sldMkLst>
          <pc:docMk/>
          <pc:sldMk cId="3465201959" sldId="3773"/>
        </pc:sldMkLst>
      </pc:sldChg>
      <pc:sldChg chg="del">
        <pc:chgData name="Ganninger, Christian" userId="f256076c-be75-4ba0-9fbc-fcb58856680c" providerId="ADAL" clId="{4E66BAEB-BF02-4CBD-9FCA-E03B0A1084DE}" dt="2025-11-27T09:24:54.384" v="4867" actId="47"/>
        <pc:sldMkLst>
          <pc:docMk/>
          <pc:sldMk cId="3244264148" sldId="3774"/>
        </pc:sldMkLst>
      </pc:sldChg>
      <pc:sldChg chg="del">
        <pc:chgData name="Ganninger, Christian" userId="f256076c-be75-4ba0-9fbc-fcb58856680c" providerId="ADAL" clId="{4E66BAEB-BF02-4CBD-9FCA-E03B0A1084DE}" dt="2025-11-27T09:24:59.511" v="4871" actId="47"/>
        <pc:sldMkLst>
          <pc:docMk/>
          <pc:sldMk cId="802185115" sldId="3775"/>
        </pc:sldMkLst>
      </pc:sldChg>
      <pc:sldChg chg="del">
        <pc:chgData name="Ganninger, Christian" userId="f256076c-be75-4ba0-9fbc-fcb58856680c" providerId="ADAL" clId="{4E66BAEB-BF02-4CBD-9FCA-E03B0A1084DE}" dt="2025-11-27T09:24:55.880" v="4868" actId="47"/>
        <pc:sldMkLst>
          <pc:docMk/>
          <pc:sldMk cId="2542255810" sldId="3780"/>
        </pc:sldMkLst>
      </pc:sldChg>
      <pc:sldChg chg="del">
        <pc:chgData name="Ganninger, Christian" userId="f256076c-be75-4ba0-9fbc-fcb58856680c" providerId="ADAL" clId="{4E66BAEB-BF02-4CBD-9FCA-E03B0A1084DE}" dt="2025-11-27T09:24:57.221" v="4869" actId="47"/>
        <pc:sldMkLst>
          <pc:docMk/>
          <pc:sldMk cId="2482609978" sldId="3781"/>
        </pc:sldMkLst>
      </pc:sldChg>
      <pc:sldChg chg="del">
        <pc:chgData name="Ganninger, Christian" userId="f256076c-be75-4ba0-9fbc-fcb58856680c" providerId="ADAL" clId="{4E66BAEB-BF02-4CBD-9FCA-E03B0A1084DE}" dt="2025-11-27T09:24:58.400" v="4870" actId="47"/>
        <pc:sldMkLst>
          <pc:docMk/>
          <pc:sldMk cId="2564104371" sldId="3782"/>
        </pc:sldMkLst>
      </pc:sldChg>
      <pc:sldChg chg="del">
        <pc:chgData name="Ganninger, Christian" userId="f256076c-be75-4ba0-9fbc-fcb58856680c" providerId="ADAL" clId="{4E66BAEB-BF02-4CBD-9FCA-E03B0A1084DE}" dt="2025-11-27T09:25:01.415" v="4873" actId="47"/>
        <pc:sldMkLst>
          <pc:docMk/>
          <pc:sldMk cId="643929132" sldId="3783"/>
        </pc:sldMkLst>
      </pc:sldChg>
      <pc:sldChg chg="addSp delSp add del mod">
        <pc:chgData name="Ganninger, Christian" userId="f256076c-be75-4ba0-9fbc-fcb58856680c" providerId="ADAL" clId="{4E66BAEB-BF02-4CBD-9FCA-E03B0A1084DE}" dt="2025-11-27T09:24:48.704" v="4865" actId="47"/>
        <pc:sldMkLst>
          <pc:docMk/>
          <pc:sldMk cId="1470599606" sldId="3784"/>
        </pc:sldMkLst>
      </pc:sldChg>
      <pc:sldChg chg="addSp delSp modSp new mod chgLayout">
        <pc:chgData name="Ganninger, Christian" userId="f256076c-be75-4ba0-9fbc-fcb58856680c" providerId="ADAL" clId="{4E66BAEB-BF02-4CBD-9FCA-E03B0A1084DE}" dt="2025-11-28T11:44:34.677" v="6710" actId="6549"/>
        <pc:sldMkLst>
          <pc:docMk/>
          <pc:sldMk cId="637021402" sldId="3785"/>
        </pc:sldMkLst>
        <pc:spChg chg="mod ord">
          <ac:chgData name="Ganninger, Christian" userId="f256076c-be75-4ba0-9fbc-fcb58856680c" providerId="ADAL" clId="{4E66BAEB-BF02-4CBD-9FCA-E03B0A1084DE}" dt="2025-11-14T12:00:04.034" v="112" actId="700"/>
          <ac:spMkLst>
            <pc:docMk/>
            <pc:sldMk cId="637021402" sldId="3785"/>
            <ac:spMk id="4" creationId="{F2DAC8DD-4B4F-1170-214F-E750C6768332}"/>
          </ac:spMkLst>
        </pc:spChg>
        <pc:spChg chg="add mod ord">
          <ac:chgData name="Ganninger, Christian" userId="f256076c-be75-4ba0-9fbc-fcb58856680c" providerId="ADAL" clId="{4E66BAEB-BF02-4CBD-9FCA-E03B0A1084DE}" dt="2025-11-14T12:00:04.034" v="112" actId="700"/>
          <ac:spMkLst>
            <pc:docMk/>
            <pc:sldMk cId="637021402" sldId="3785"/>
            <ac:spMk id="10" creationId="{010F4C29-A6AC-0DA4-1018-75ED54807F96}"/>
          </ac:spMkLst>
        </pc:spChg>
        <pc:spChg chg="add mod">
          <ac:chgData name="Ganninger, Christian" userId="f256076c-be75-4ba0-9fbc-fcb58856680c" providerId="ADAL" clId="{4E66BAEB-BF02-4CBD-9FCA-E03B0A1084DE}" dt="2025-11-28T11:44:34.677" v="6710" actId="6549"/>
          <ac:spMkLst>
            <pc:docMk/>
            <pc:sldMk cId="637021402" sldId="3785"/>
            <ac:spMk id="163" creationId="{7060065A-7291-E432-496F-877FB61F31B1}"/>
          </ac:spMkLst>
        </pc:spChg>
        <pc:picChg chg="add mod">
          <ac:chgData name="Ganninger, Christian" userId="f256076c-be75-4ba0-9fbc-fcb58856680c" providerId="ADAL" clId="{4E66BAEB-BF02-4CBD-9FCA-E03B0A1084DE}" dt="2025-11-25T15:40:29.100" v="2219" actId="1076"/>
          <ac:picMkLst>
            <pc:docMk/>
            <pc:sldMk cId="637021402" sldId="3785"/>
            <ac:picMk id="164" creationId="{1E151F92-D026-A008-74C7-FDA9787852F6}"/>
          </ac:picMkLst>
        </pc:picChg>
        <pc:picChg chg="add mod">
          <ac:chgData name="Ganninger, Christian" userId="f256076c-be75-4ba0-9fbc-fcb58856680c" providerId="ADAL" clId="{4E66BAEB-BF02-4CBD-9FCA-E03B0A1084DE}" dt="2025-11-25T15:40:24.038" v="2218" actId="1076"/>
          <ac:picMkLst>
            <pc:docMk/>
            <pc:sldMk cId="637021402" sldId="3785"/>
            <ac:picMk id="165" creationId="{53E86EB4-D603-DD3A-EF80-861192080464}"/>
          </ac:picMkLst>
        </pc:picChg>
      </pc:sldChg>
      <pc:sldChg chg="addSp delSp modSp new mod">
        <pc:chgData name="Ganninger, Christian" userId="f256076c-be75-4ba0-9fbc-fcb58856680c" providerId="ADAL" clId="{4E66BAEB-BF02-4CBD-9FCA-E03B0A1084DE}" dt="2025-11-27T16:36:06.667" v="6669" actId="20577"/>
        <pc:sldMkLst>
          <pc:docMk/>
          <pc:sldMk cId="647603438" sldId="3786"/>
        </pc:sldMkLst>
        <pc:spChg chg="mod">
          <ac:chgData name="Ganninger, Christian" userId="f256076c-be75-4ba0-9fbc-fcb58856680c" providerId="ADAL" clId="{4E66BAEB-BF02-4CBD-9FCA-E03B0A1084DE}" dt="2025-11-25T14:33:10.972" v="1773" actId="20577"/>
          <ac:spMkLst>
            <pc:docMk/>
            <pc:sldMk cId="647603438" sldId="3786"/>
            <ac:spMk id="4" creationId="{A38F0B61-7437-0FC2-7D35-DFA70D2FE588}"/>
          </ac:spMkLst>
        </pc:spChg>
        <pc:spChg chg="add mod ord">
          <ac:chgData name="Ganninger, Christian" userId="f256076c-be75-4ba0-9fbc-fcb58856680c" providerId="ADAL" clId="{4E66BAEB-BF02-4CBD-9FCA-E03B0A1084DE}" dt="2025-11-27T16:36:06.667" v="6669" actId="20577"/>
          <ac:spMkLst>
            <pc:docMk/>
            <pc:sldMk cId="647603438" sldId="3786"/>
            <ac:spMk id="92" creationId="{36FEEE18-0A3F-21CA-1D5B-E1AAB250631E}"/>
          </ac:spMkLst>
        </pc:spChg>
        <pc:spChg chg="add mod">
          <ac:chgData name="Ganninger, Christian" userId="f256076c-be75-4ba0-9fbc-fcb58856680c" providerId="ADAL" clId="{4E66BAEB-BF02-4CBD-9FCA-E03B0A1084DE}" dt="2025-11-25T13:27:35.157" v="1599" actId="164"/>
          <ac:spMkLst>
            <pc:docMk/>
            <pc:sldMk cId="647603438" sldId="3786"/>
            <ac:spMk id="98" creationId="{8A59D552-FCEB-A1A8-CDDC-CA89A7EF19B8}"/>
          </ac:spMkLst>
        </pc:spChg>
        <pc:spChg chg="add mod">
          <ac:chgData name="Ganninger, Christian" userId="f256076c-be75-4ba0-9fbc-fcb58856680c" providerId="ADAL" clId="{4E66BAEB-BF02-4CBD-9FCA-E03B0A1084DE}" dt="2025-11-25T13:17:06.380" v="1585" actId="164"/>
          <ac:spMkLst>
            <pc:docMk/>
            <pc:sldMk cId="647603438" sldId="3786"/>
            <ac:spMk id="104" creationId="{B87FB751-DE04-F073-67A5-904999F9355F}"/>
          </ac:spMkLst>
        </pc:spChg>
        <pc:spChg chg="mod">
          <ac:chgData name="Ganninger, Christian" userId="f256076c-be75-4ba0-9fbc-fcb58856680c" providerId="ADAL" clId="{4E66BAEB-BF02-4CBD-9FCA-E03B0A1084DE}" dt="2025-11-25T13:28:14.616" v="1607"/>
          <ac:spMkLst>
            <pc:docMk/>
            <pc:sldMk cId="647603438" sldId="3786"/>
            <ac:spMk id="133" creationId="{3BAB09D2-C536-EA4A-3883-1F3D438DF8E9}"/>
          </ac:spMkLst>
        </pc:spChg>
        <pc:grpChg chg="add mod">
          <ac:chgData name="Ganninger, Christian" userId="f256076c-be75-4ba0-9fbc-fcb58856680c" providerId="ADAL" clId="{4E66BAEB-BF02-4CBD-9FCA-E03B0A1084DE}" dt="2025-11-25T13:17:06.380" v="1585" actId="164"/>
          <ac:grpSpMkLst>
            <pc:docMk/>
            <pc:sldMk cId="647603438" sldId="3786"/>
            <ac:grpSpMk id="103" creationId="{175B2180-36F0-2DAA-34FA-9F0E1E778D7C}"/>
          </ac:grpSpMkLst>
        </pc:grpChg>
        <pc:grpChg chg="add mod">
          <ac:chgData name="Ganninger, Christian" userId="f256076c-be75-4ba0-9fbc-fcb58856680c" providerId="ADAL" clId="{4E66BAEB-BF02-4CBD-9FCA-E03B0A1084DE}" dt="2025-11-25T15:03:35.683" v="1817" actId="1076"/>
          <ac:grpSpMkLst>
            <pc:docMk/>
            <pc:sldMk cId="647603438" sldId="3786"/>
            <ac:grpSpMk id="105" creationId="{5EDA23A3-633E-7668-6D31-899F5D40F5DC}"/>
          </ac:grpSpMkLst>
        </pc:grpChg>
        <pc:grpChg chg="add mod">
          <ac:chgData name="Ganninger, Christian" userId="f256076c-be75-4ba0-9fbc-fcb58856680c" providerId="ADAL" clId="{4E66BAEB-BF02-4CBD-9FCA-E03B0A1084DE}" dt="2025-11-25T13:27:39.241" v="1600" actId="164"/>
          <ac:grpSpMkLst>
            <pc:docMk/>
            <pc:sldMk cId="647603438" sldId="3786"/>
            <ac:grpSpMk id="129" creationId="{9E016F10-C1D0-8511-BAA4-7EE2FA15DBF7}"/>
          </ac:grpSpMkLst>
        </pc:grpChg>
        <pc:grpChg chg="add mod">
          <ac:chgData name="Ganninger, Christian" userId="f256076c-be75-4ba0-9fbc-fcb58856680c" providerId="ADAL" clId="{4E66BAEB-BF02-4CBD-9FCA-E03B0A1084DE}" dt="2025-11-25T15:03:56.750" v="1819" actId="1076"/>
          <ac:grpSpMkLst>
            <pc:docMk/>
            <pc:sldMk cId="647603438" sldId="3786"/>
            <ac:grpSpMk id="130" creationId="{FDAD2868-F30E-3D98-0EE8-A689FA80057E}"/>
          </ac:grpSpMkLst>
        </pc:grpChg>
        <pc:grpChg chg="add mod">
          <ac:chgData name="Ganninger, Christian" userId="f256076c-be75-4ba0-9fbc-fcb58856680c" providerId="ADAL" clId="{4E66BAEB-BF02-4CBD-9FCA-E03B0A1084DE}" dt="2025-11-25T15:03:50.179" v="1818" actId="1076"/>
          <ac:grpSpMkLst>
            <pc:docMk/>
            <pc:sldMk cId="647603438" sldId="3786"/>
            <ac:grpSpMk id="131" creationId="{1926F471-675E-36CB-52A3-8CD9A563D3C0}"/>
          </ac:grpSpMkLst>
        </pc:grpChg>
        <pc:grpChg chg="mod">
          <ac:chgData name="Ganninger, Christian" userId="f256076c-be75-4ba0-9fbc-fcb58856680c" providerId="ADAL" clId="{4E66BAEB-BF02-4CBD-9FCA-E03B0A1084DE}" dt="2025-11-25T13:28:14.616" v="1607"/>
          <ac:grpSpMkLst>
            <pc:docMk/>
            <pc:sldMk cId="647603438" sldId="3786"/>
            <ac:grpSpMk id="132" creationId="{5433A4ED-CAB0-4F2D-64C0-56A111F5DEC9}"/>
          </ac:grpSpMkLst>
        </pc:grpChg>
        <pc:picChg chg="add mod">
          <ac:chgData name="Ganninger, Christian" userId="f256076c-be75-4ba0-9fbc-fcb58856680c" providerId="ADAL" clId="{4E66BAEB-BF02-4CBD-9FCA-E03B0A1084DE}" dt="2025-11-25T13:27:39.241" v="1600" actId="164"/>
          <ac:picMkLst>
            <pc:docMk/>
            <pc:sldMk cId="647603438" sldId="3786"/>
            <ac:picMk id="91" creationId="{45E40B9E-46A7-107F-55D9-EB97A9796AB3}"/>
          </ac:picMkLst>
        </pc:picChg>
        <pc:picChg chg="add mod">
          <ac:chgData name="Ganninger, Christian" userId="f256076c-be75-4ba0-9fbc-fcb58856680c" providerId="ADAL" clId="{4E66BAEB-BF02-4CBD-9FCA-E03B0A1084DE}" dt="2025-11-25T15:03:35.683" v="1817" actId="1076"/>
          <ac:picMkLst>
            <pc:docMk/>
            <pc:sldMk cId="647603438" sldId="3786"/>
            <ac:picMk id="113" creationId="{5908EB47-3F8C-89B4-FCD3-EDA8A8414E8E}"/>
          </ac:picMkLst>
        </pc:picChg>
        <pc:picChg chg="add mod">
          <ac:chgData name="Ganninger, Christian" userId="f256076c-be75-4ba0-9fbc-fcb58856680c" providerId="ADAL" clId="{4E66BAEB-BF02-4CBD-9FCA-E03B0A1084DE}" dt="2025-11-25T15:03:50.179" v="1818" actId="1076"/>
          <ac:picMkLst>
            <pc:docMk/>
            <pc:sldMk cId="647603438" sldId="3786"/>
            <ac:picMk id="128" creationId="{BDA9D416-433C-EF63-98B5-A288D627DC49}"/>
          </ac:picMkLst>
        </pc:picChg>
        <pc:cxnChg chg="add mod">
          <ac:chgData name="Ganninger, Christian" userId="f256076c-be75-4ba0-9fbc-fcb58856680c" providerId="ADAL" clId="{4E66BAEB-BF02-4CBD-9FCA-E03B0A1084DE}" dt="2025-11-25T13:27:35.157" v="1599" actId="164"/>
          <ac:cxnSpMkLst>
            <pc:docMk/>
            <pc:sldMk cId="647603438" sldId="3786"/>
            <ac:cxnSpMk id="94" creationId="{D2416D14-434D-AF82-4C18-79E706F16DCE}"/>
          </ac:cxnSpMkLst>
        </pc:cxnChg>
        <pc:cxnChg chg="add mod">
          <ac:chgData name="Ganninger, Christian" userId="f256076c-be75-4ba0-9fbc-fcb58856680c" providerId="ADAL" clId="{4E66BAEB-BF02-4CBD-9FCA-E03B0A1084DE}" dt="2025-11-25T13:27:35.157" v="1599" actId="164"/>
          <ac:cxnSpMkLst>
            <pc:docMk/>
            <pc:sldMk cId="647603438" sldId="3786"/>
            <ac:cxnSpMk id="95" creationId="{3C8A96A9-D67E-0D03-5459-5557CA907176}"/>
          </ac:cxnSpMkLst>
        </pc:cxnChg>
        <pc:cxnChg chg="add mod">
          <ac:chgData name="Ganninger, Christian" userId="f256076c-be75-4ba0-9fbc-fcb58856680c" providerId="ADAL" clId="{4E66BAEB-BF02-4CBD-9FCA-E03B0A1084DE}" dt="2025-11-25T13:27:35.157" v="1599" actId="164"/>
          <ac:cxnSpMkLst>
            <pc:docMk/>
            <pc:sldMk cId="647603438" sldId="3786"/>
            <ac:cxnSpMk id="97" creationId="{BEE5B835-7CDA-1358-A4A8-519E23F572EC}"/>
          </ac:cxnSpMkLst>
        </pc:cxnChg>
        <pc:cxnChg chg="add mod">
          <ac:chgData name="Ganninger, Christian" userId="f256076c-be75-4ba0-9fbc-fcb58856680c" providerId="ADAL" clId="{4E66BAEB-BF02-4CBD-9FCA-E03B0A1084DE}" dt="2025-11-25T13:16:44.567" v="1580" actId="164"/>
          <ac:cxnSpMkLst>
            <pc:docMk/>
            <pc:sldMk cId="647603438" sldId="3786"/>
            <ac:cxnSpMk id="99" creationId="{5A46E727-5A0E-5287-E971-34C6E395EB54}"/>
          </ac:cxnSpMkLst>
        </pc:cxnChg>
        <pc:cxnChg chg="add mod">
          <ac:chgData name="Ganninger, Christian" userId="f256076c-be75-4ba0-9fbc-fcb58856680c" providerId="ADAL" clId="{4E66BAEB-BF02-4CBD-9FCA-E03B0A1084DE}" dt="2025-11-25T13:19:07.711" v="1593" actId="1038"/>
          <ac:cxnSpMkLst>
            <pc:docMk/>
            <pc:sldMk cId="647603438" sldId="3786"/>
            <ac:cxnSpMk id="100" creationId="{7D2CE334-15F2-6EDE-57ED-34648B0E243D}"/>
          </ac:cxnSpMkLst>
        </pc:cxnChg>
        <pc:cxnChg chg="add mod">
          <ac:chgData name="Ganninger, Christian" userId="f256076c-be75-4ba0-9fbc-fcb58856680c" providerId="ADAL" clId="{4E66BAEB-BF02-4CBD-9FCA-E03B0A1084DE}" dt="2025-11-25T13:19:11.105" v="1594" actId="14100"/>
          <ac:cxnSpMkLst>
            <pc:docMk/>
            <pc:sldMk cId="647603438" sldId="3786"/>
            <ac:cxnSpMk id="101" creationId="{245B16CE-E5C5-E0F7-D3D0-EF189051CC5C}"/>
          </ac:cxnSpMkLst>
        </pc:cxnChg>
        <pc:cxnChg chg="mod">
          <ac:chgData name="Ganninger, Christian" userId="f256076c-be75-4ba0-9fbc-fcb58856680c" providerId="ADAL" clId="{4E66BAEB-BF02-4CBD-9FCA-E03B0A1084DE}" dt="2025-11-25T13:28:14.616" v="1607"/>
          <ac:cxnSpMkLst>
            <pc:docMk/>
            <pc:sldMk cId="647603438" sldId="3786"/>
            <ac:cxnSpMk id="134" creationId="{7C2FC50A-D418-2392-545F-1BED658F9CEB}"/>
          </ac:cxnSpMkLst>
        </pc:cxnChg>
        <pc:cxnChg chg="mod">
          <ac:chgData name="Ganninger, Christian" userId="f256076c-be75-4ba0-9fbc-fcb58856680c" providerId="ADAL" clId="{4E66BAEB-BF02-4CBD-9FCA-E03B0A1084DE}" dt="2025-11-25T13:28:14.616" v="1607"/>
          <ac:cxnSpMkLst>
            <pc:docMk/>
            <pc:sldMk cId="647603438" sldId="3786"/>
            <ac:cxnSpMk id="135" creationId="{3A1CCCAA-691D-2418-B162-24EC5D115CB9}"/>
          </ac:cxnSpMkLst>
        </pc:cxnChg>
        <pc:cxnChg chg="mod">
          <ac:chgData name="Ganninger, Christian" userId="f256076c-be75-4ba0-9fbc-fcb58856680c" providerId="ADAL" clId="{4E66BAEB-BF02-4CBD-9FCA-E03B0A1084DE}" dt="2025-11-25T13:28:14.616" v="1607"/>
          <ac:cxnSpMkLst>
            <pc:docMk/>
            <pc:sldMk cId="647603438" sldId="3786"/>
            <ac:cxnSpMk id="136" creationId="{014675AC-A3D2-916C-03C9-CAC538B6807C}"/>
          </ac:cxnSpMkLst>
        </pc:cxnChg>
      </pc:sldChg>
      <pc:sldChg chg="addSp delSp modSp new mod ord">
        <pc:chgData name="Ganninger, Christian" userId="f256076c-be75-4ba0-9fbc-fcb58856680c" providerId="ADAL" clId="{4E66BAEB-BF02-4CBD-9FCA-E03B0A1084DE}" dt="2025-11-28T13:57:14.909" v="7085" actId="20577"/>
        <pc:sldMkLst>
          <pc:docMk/>
          <pc:sldMk cId="2681031361" sldId="3787"/>
        </pc:sldMkLst>
        <pc:spChg chg="del mod">
          <ac:chgData name="Ganninger, Christian" userId="f256076c-be75-4ba0-9fbc-fcb58856680c" providerId="ADAL" clId="{4E66BAEB-BF02-4CBD-9FCA-E03B0A1084DE}" dt="2025-11-27T09:26:06.990" v="4878" actId="478"/>
          <ac:spMkLst>
            <pc:docMk/>
            <pc:sldMk cId="2681031361" sldId="3787"/>
            <ac:spMk id="2" creationId="{BE54F25B-59F5-832E-4047-F2961B28BFE7}"/>
          </ac:spMkLst>
        </pc:spChg>
        <pc:spChg chg="mod">
          <ac:chgData name="Ganninger, Christian" userId="f256076c-be75-4ba0-9fbc-fcb58856680c" providerId="ADAL" clId="{4E66BAEB-BF02-4CBD-9FCA-E03B0A1084DE}" dt="2025-11-27T09:40:09.378" v="4972" actId="20577"/>
          <ac:spMkLst>
            <pc:docMk/>
            <pc:sldMk cId="2681031361" sldId="3787"/>
            <ac:spMk id="4" creationId="{EB971CA3-645E-B121-B52B-24AA36C8A0BF}"/>
          </ac:spMkLst>
        </pc:spChg>
        <pc:spChg chg="add mod">
          <ac:chgData name="Ganninger, Christian" userId="f256076c-be75-4ba0-9fbc-fcb58856680c" providerId="ADAL" clId="{4E66BAEB-BF02-4CBD-9FCA-E03B0A1084DE}" dt="2025-11-28T13:57:14.909" v="7085" actId="20577"/>
          <ac:spMkLst>
            <pc:docMk/>
            <pc:sldMk cId="2681031361" sldId="3787"/>
            <ac:spMk id="5" creationId="{BD3BC9B6-3E55-B023-9B75-FEE5A1ED757F}"/>
          </ac:spMkLst>
        </pc:spChg>
        <pc:spChg chg="add mod">
          <ac:chgData name="Ganninger, Christian" userId="f256076c-be75-4ba0-9fbc-fcb58856680c" providerId="ADAL" clId="{4E66BAEB-BF02-4CBD-9FCA-E03B0A1084DE}" dt="2025-11-27T10:38:33.443" v="5399" actId="1076"/>
          <ac:spMkLst>
            <pc:docMk/>
            <pc:sldMk cId="2681031361" sldId="3787"/>
            <ac:spMk id="9" creationId="{7EB71E5E-5C54-360C-6D0B-0F0EE87BAC5D}"/>
          </ac:spMkLst>
        </pc:spChg>
        <pc:picChg chg="add mod">
          <ac:chgData name="Ganninger, Christian" userId="f256076c-be75-4ba0-9fbc-fcb58856680c" providerId="ADAL" clId="{4E66BAEB-BF02-4CBD-9FCA-E03B0A1084DE}" dt="2025-11-27T09:46:14.876" v="5234"/>
          <ac:picMkLst>
            <pc:docMk/>
            <pc:sldMk cId="2681031361" sldId="3787"/>
            <ac:picMk id="6" creationId="{78C844B5-D272-FEAE-0F00-E273C1B017F7}"/>
          </ac:picMkLst>
        </pc:picChg>
        <pc:picChg chg="add mod">
          <ac:chgData name="Ganninger, Christian" userId="f256076c-be75-4ba0-9fbc-fcb58856680c" providerId="ADAL" clId="{4E66BAEB-BF02-4CBD-9FCA-E03B0A1084DE}" dt="2025-11-27T10:38:06.393" v="5395" actId="1076"/>
          <ac:picMkLst>
            <pc:docMk/>
            <pc:sldMk cId="2681031361" sldId="3787"/>
            <ac:picMk id="7" creationId="{A9B90B7E-CC7C-6D09-FE98-12281DB7C32A}"/>
          </ac:picMkLst>
        </pc:picChg>
        <pc:picChg chg="add mod">
          <ac:chgData name="Ganninger, Christian" userId="f256076c-be75-4ba0-9fbc-fcb58856680c" providerId="ADAL" clId="{4E66BAEB-BF02-4CBD-9FCA-E03B0A1084DE}" dt="2025-11-27T10:38:03.682" v="5394" actId="1076"/>
          <ac:picMkLst>
            <pc:docMk/>
            <pc:sldMk cId="2681031361" sldId="3787"/>
            <ac:picMk id="8" creationId="{B732954E-3459-C03E-AFB5-E66214E16F7C}"/>
          </ac:picMkLst>
        </pc:picChg>
      </pc:sldChg>
      <pc:sldChg chg="addSp delSp modSp add mod">
        <pc:chgData name="Ganninger, Christian" userId="f256076c-be75-4ba0-9fbc-fcb58856680c" providerId="ADAL" clId="{4E66BAEB-BF02-4CBD-9FCA-E03B0A1084DE}" dt="2025-11-27T16:30:34.948" v="6515" actId="20577"/>
        <pc:sldMkLst>
          <pc:docMk/>
          <pc:sldMk cId="3457613846" sldId="3788"/>
        </pc:sldMkLst>
        <pc:spChg chg="mod">
          <ac:chgData name="Ganninger, Christian" userId="f256076c-be75-4ba0-9fbc-fcb58856680c" providerId="ADAL" clId="{4E66BAEB-BF02-4CBD-9FCA-E03B0A1084DE}" dt="2025-11-27T16:30:34.948" v="6515" actId="20577"/>
          <ac:spMkLst>
            <pc:docMk/>
            <pc:sldMk cId="3457613846" sldId="3788"/>
            <ac:spMk id="2" creationId="{37A2E84F-03F1-4B20-C6AE-2113ACDA6133}"/>
          </ac:spMkLst>
        </pc:spChg>
        <pc:spChg chg="add mod">
          <ac:chgData name="Ganninger, Christian" userId="f256076c-be75-4ba0-9fbc-fcb58856680c" providerId="ADAL" clId="{4E66BAEB-BF02-4CBD-9FCA-E03B0A1084DE}" dt="2025-11-20T16:16:56.483" v="477" actId="1076"/>
          <ac:spMkLst>
            <pc:docMk/>
            <pc:sldMk cId="3457613846" sldId="3788"/>
            <ac:spMk id="7" creationId="{D7C69D1D-E894-F6EC-959D-447182467CDE}"/>
          </ac:spMkLst>
        </pc:spChg>
        <pc:spChg chg="add mod">
          <ac:chgData name="Ganninger, Christian" userId="f256076c-be75-4ba0-9fbc-fcb58856680c" providerId="ADAL" clId="{4E66BAEB-BF02-4CBD-9FCA-E03B0A1084DE}" dt="2025-11-20T16:16:31.786" v="473" actId="1076"/>
          <ac:spMkLst>
            <pc:docMk/>
            <pc:sldMk cId="3457613846" sldId="3788"/>
            <ac:spMk id="10" creationId="{9DDB8FFA-6377-F8D6-7C48-CFB6FB97B3E8}"/>
          </ac:spMkLst>
        </pc:spChg>
        <pc:picChg chg="add mod">
          <ac:chgData name="Ganninger, Christian" userId="f256076c-be75-4ba0-9fbc-fcb58856680c" providerId="ADAL" clId="{4E66BAEB-BF02-4CBD-9FCA-E03B0A1084DE}" dt="2025-11-20T16:16:49.386" v="476" actId="14100"/>
          <ac:picMkLst>
            <pc:docMk/>
            <pc:sldMk cId="3457613846" sldId="3788"/>
            <ac:picMk id="161" creationId="{CAF9C5AD-4264-DF24-DF58-F6D6BC2EBF87}"/>
          </ac:picMkLst>
        </pc:picChg>
        <pc:picChg chg="add mod">
          <ac:chgData name="Ganninger, Christian" userId="f256076c-be75-4ba0-9fbc-fcb58856680c" providerId="ADAL" clId="{4E66BAEB-BF02-4CBD-9FCA-E03B0A1084DE}" dt="2025-11-20T16:16:27.555" v="472" actId="14100"/>
          <ac:picMkLst>
            <pc:docMk/>
            <pc:sldMk cId="3457613846" sldId="3788"/>
            <ac:picMk id="316" creationId="{506C9EFB-1CDD-2C2D-E5F6-1CBE9500BA46}"/>
          </ac:picMkLst>
        </pc:picChg>
      </pc:sldChg>
      <pc:sldChg chg="addSp delSp modSp new del mod">
        <pc:chgData name="Ganninger, Christian" userId="f256076c-be75-4ba0-9fbc-fcb58856680c" providerId="ADAL" clId="{4E66BAEB-BF02-4CBD-9FCA-E03B0A1084DE}" dt="2025-11-27T09:25:02.398" v="4874" actId="47"/>
        <pc:sldMkLst>
          <pc:docMk/>
          <pc:sldMk cId="2956963994" sldId="3789"/>
        </pc:sldMkLst>
      </pc:sldChg>
      <pc:sldChg chg="addSp delSp modSp add mod">
        <pc:chgData name="Ganninger, Christian" userId="f256076c-be75-4ba0-9fbc-fcb58856680c" providerId="ADAL" clId="{4E66BAEB-BF02-4CBD-9FCA-E03B0A1084DE}" dt="2025-11-28T11:59:25.650" v="6712" actId="14100"/>
        <pc:sldMkLst>
          <pc:docMk/>
          <pc:sldMk cId="1353214636" sldId="3790"/>
        </pc:sldMkLst>
        <pc:spChg chg="mod">
          <ac:chgData name="Ganninger, Christian" userId="f256076c-be75-4ba0-9fbc-fcb58856680c" providerId="ADAL" clId="{4E66BAEB-BF02-4CBD-9FCA-E03B0A1084DE}" dt="2025-11-25T14:33:21.532" v="1778" actId="20577"/>
          <ac:spMkLst>
            <pc:docMk/>
            <pc:sldMk cId="1353214636" sldId="3790"/>
            <ac:spMk id="4" creationId="{EAB7FC72-1702-E419-EAF0-270928F470B3}"/>
          </ac:spMkLst>
        </pc:spChg>
        <pc:spChg chg="mod">
          <ac:chgData name="Ganninger, Christian" userId="f256076c-be75-4ba0-9fbc-fcb58856680c" providerId="ADAL" clId="{4E66BAEB-BF02-4CBD-9FCA-E03B0A1084DE}" dt="2025-11-27T10:58:03.226" v="5917"/>
          <ac:spMkLst>
            <pc:docMk/>
            <pc:sldMk cId="1353214636" sldId="3790"/>
            <ac:spMk id="6" creationId="{94BB5357-7CDF-3A90-3639-9A426EF31636}"/>
          </ac:spMkLst>
        </pc:spChg>
        <pc:spChg chg="mod">
          <ac:chgData name="Ganninger, Christian" userId="f256076c-be75-4ba0-9fbc-fcb58856680c" providerId="ADAL" clId="{4E66BAEB-BF02-4CBD-9FCA-E03B0A1084DE}" dt="2025-11-27T10:58:03.226" v="5917"/>
          <ac:spMkLst>
            <pc:docMk/>
            <pc:sldMk cId="1353214636" sldId="3790"/>
            <ac:spMk id="10" creationId="{BF5DA93E-37A5-A370-318F-71E9AC6D4E32}"/>
          </ac:spMkLst>
        </pc:spChg>
        <pc:spChg chg="add mod">
          <ac:chgData name="Ganninger, Christian" userId="f256076c-be75-4ba0-9fbc-fcb58856680c" providerId="ADAL" clId="{4E66BAEB-BF02-4CBD-9FCA-E03B0A1084DE}" dt="2025-11-27T10:57:55.717" v="5916"/>
          <ac:spMkLst>
            <pc:docMk/>
            <pc:sldMk cId="1353214636" sldId="3790"/>
            <ac:spMk id="12" creationId="{D0E97A06-9B69-817E-834D-ADC823E5611A}"/>
          </ac:spMkLst>
        </pc:spChg>
        <pc:spChg chg="mod">
          <ac:chgData name="Ganninger, Christian" userId="f256076c-be75-4ba0-9fbc-fcb58856680c" providerId="ADAL" clId="{4E66BAEB-BF02-4CBD-9FCA-E03B0A1084DE}" dt="2025-11-27T10:58:03.226" v="5917"/>
          <ac:spMkLst>
            <pc:docMk/>
            <pc:sldMk cId="1353214636" sldId="3790"/>
            <ac:spMk id="15" creationId="{985978A5-2B29-860A-437A-DA6FD51FEDCF}"/>
          </ac:spMkLst>
        </pc:spChg>
        <pc:spChg chg="add mod">
          <ac:chgData name="Ganninger, Christian" userId="f256076c-be75-4ba0-9fbc-fcb58856680c" providerId="ADAL" clId="{4E66BAEB-BF02-4CBD-9FCA-E03B0A1084DE}" dt="2025-11-27T10:57:55.717" v="5916"/>
          <ac:spMkLst>
            <pc:docMk/>
            <pc:sldMk cId="1353214636" sldId="3790"/>
            <ac:spMk id="16" creationId="{ACC36D60-483A-D96B-4813-4A29DA721D81}"/>
          </ac:spMkLst>
        </pc:spChg>
        <pc:spChg chg="add mod">
          <ac:chgData name="Ganninger, Christian" userId="f256076c-be75-4ba0-9fbc-fcb58856680c" providerId="ADAL" clId="{4E66BAEB-BF02-4CBD-9FCA-E03B0A1084DE}" dt="2025-11-27T10:57:55.717" v="5916"/>
          <ac:spMkLst>
            <pc:docMk/>
            <pc:sldMk cId="1353214636" sldId="3790"/>
            <ac:spMk id="17" creationId="{4BDC14B5-361E-263D-FB08-823B92C8C91B}"/>
          </ac:spMkLst>
        </pc:spChg>
        <pc:spChg chg="add mod">
          <ac:chgData name="Ganninger, Christian" userId="f256076c-be75-4ba0-9fbc-fcb58856680c" providerId="ADAL" clId="{4E66BAEB-BF02-4CBD-9FCA-E03B0A1084DE}" dt="2025-11-27T10:57:55.717" v="5916"/>
          <ac:spMkLst>
            <pc:docMk/>
            <pc:sldMk cId="1353214636" sldId="3790"/>
            <ac:spMk id="18" creationId="{D907B29C-3ACB-9AEF-601B-B9A5C6CAC846}"/>
          </ac:spMkLst>
        </pc:spChg>
        <pc:spChg chg="mod">
          <ac:chgData name="Ganninger, Christian" userId="f256076c-be75-4ba0-9fbc-fcb58856680c" providerId="ADAL" clId="{4E66BAEB-BF02-4CBD-9FCA-E03B0A1084DE}" dt="2025-11-27T10:58:03.226" v="5917"/>
          <ac:spMkLst>
            <pc:docMk/>
            <pc:sldMk cId="1353214636" sldId="3790"/>
            <ac:spMk id="20" creationId="{8D6EFC2D-F045-8E7F-A095-1DE31945009E}"/>
          </ac:spMkLst>
        </pc:spChg>
        <pc:spChg chg="add mod">
          <ac:chgData name="Ganninger, Christian" userId="f256076c-be75-4ba0-9fbc-fcb58856680c" providerId="ADAL" clId="{4E66BAEB-BF02-4CBD-9FCA-E03B0A1084DE}" dt="2025-11-27T10:57:55.717" v="5916"/>
          <ac:spMkLst>
            <pc:docMk/>
            <pc:sldMk cId="1353214636" sldId="3790"/>
            <ac:spMk id="22" creationId="{28D49D6E-CF59-8774-7225-CE3988324611}"/>
          </ac:spMkLst>
        </pc:spChg>
        <pc:spChg chg="add mod">
          <ac:chgData name="Ganninger, Christian" userId="f256076c-be75-4ba0-9fbc-fcb58856680c" providerId="ADAL" clId="{4E66BAEB-BF02-4CBD-9FCA-E03B0A1084DE}" dt="2025-11-27T10:57:55.717" v="5916"/>
          <ac:spMkLst>
            <pc:docMk/>
            <pc:sldMk cId="1353214636" sldId="3790"/>
            <ac:spMk id="25" creationId="{4742E9E5-3898-9DA1-B018-BECF1319698E}"/>
          </ac:spMkLst>
        </pc:spChg>
        <pc:spChg chg="mod">
          <ac:chgData name="Ganninger, Christian" userId="f256076c-be75-4ba0-9fbc-fcb58856680c" providerId="ADAL" clId="{4E66BAEB-BF02-4CBD-9FCA-E03B0A1084DE}" dt="2025-11-27T10:58:03.226" v="5917"/>
          <ac:spMkLst>
            <pc:docMk/>
            <pc:sldMk cId="1353214636" sldId="3790"/>
            <ac:spMk id="28" creationId="{53C8648E-0DB3-18BF-A79B-CFAE83C4C259}"/>
          </ac:spMkLst>
        </pc:spChg>
        <pc:spChg chg="add mod">
          <ac:chgData name="Ganninger, Christian" userId="f256076c-be75-4ba0-9fbc-fcb58856680c" providerId="ADAL" clId="{4E66BAEB-BF02-4CBD-9FCA-E03B0A1084DE}" dt="2025-11-27T10:58:03.226" v="5917"/>
          <ac:spMkLst>
            <pc:docMk/>
            <pc:sldMk cId="1353214636" sldId="3790"/>
            <ac:spMk id="30" creationId="{2F30D1CB-81F4-4560-5ADA-839065E09EE4}"/>
          </ac:spMkLst>
        </pc:spChg>
        <pc:spChg chg="add mod">
          <ac:chgData name="Ganninger, Christian" userId="f256076c-be75-4ba0-9fbc-fcb58856680c" providerId="ADAL" clId="{4E66BAEB-BF02-4CBD-9FCA-E03B0A1084DE}" dt="2025-11-27T10:57:55.717" v="5916"/>
          <ac:spMkLst>
            <pc:docMk/>
            <pc:sldMk cId="1353214636" sldId="3790"/>
            <ac:spMk id="34" creationId="{6E798C30-C1E6-CBC6-FBE0-9B73C7A3311A}"/>
          </ac:spMkLst>
        </pc:spChg>
        <pc:spChg chg="mod">
          <ac:chgData name="Ganninger, Christian" userId="f256076c-be75-4ba0-9fbc-fcb58856680c" providerId="ADAL" clId="{4E66BAEB-BF02-4CBD-9FCA-E03B0A1084DE}" dt="2025-11-27T10:58:03.226" v="5917"/>
          <ac:spMkLst>
            <pc:docMk/>
            <pc:sldMk cId="1353214636" sldId="3790"/>
            <ac:spMk id="36" creationId="{91CF6CE0-9330-0697-9362-214B18F38165}"/>
          </ac:spMkLst>
        </pc:spChg>
        <pc:spChg chg="mod">
          <ac:chgData name="Ganninger, Christian" userId="f256076c-be75-4ba0-9fbc-fcb58856680c" providerId="ADAL" clId="{4E66BAEB-BF02-4CBD-9FCA-E03B0A1084DE}" dt="2025-11-27T10:58:03.226" v="5917"/>
          <ac:spMkLst>
            <pc:docMk/>
            <pc:sldMk cId="1353214636" sldId="3790"/>
            <ac:spMk id="37" creationId="{AC583B98-1735-E1CF-8B2B-0D3F7DEF6380}"/>
          </ac:spMkLst>
        </pc:spChg>
        <pc:spChg chg="add mod">
          <ac:chgData name="Ganninger, Christian" userId="f256076c-be75-4ba0-9fbc-fcb58856680c" providerId="ADAL" clId="{4E66BAEB-BF02-4CBD-9FCA-E03B0A1084DE}" dt="2025-11-27T10:57:55.717" v="5916"/>
          <ac:spMkLst>
            <pc:docMk/>
            <pc:sldMk cId="1353214636" sldId="3790"/>
            <ac:spMk id="39" creationId="{3809E72E-E779-3277-85C6-8C095F06C6DD}"/>
          </ac:spMkLst>
        </pc:spChg>
        <pc:spChg chg="mod">
          <ac:chgData name="Ganninger, Christian" userId="f256076c-be75-4ba0-9fbc-fcb58856680c" providerId="ADAL" clId="{4E66BAEB-BF02-4CBD-9FCA-E03B0A1084DE}" dt="2025-11-27T10:58:03.226" v="5917"/>
          <ac:spMkLst>
            <pc:docMk/>
            <pc:sldMk cId="1353214636" sldId="3790"/>
            <ac:spMk id="43" creationId="{7C5F4774-5BAB-168A-0647-0BF373EA1308}"/>
          </ac:spMkLst>
        </pc:spChg>
        <pc:spChg chg="add mod">
          <ac:chgData name="Ganninger, Christian" userId="f256076c-be75-4ba0-9fbc-fcb58856680c" providerId="ADAL" clId="{4E66BAEB-BF02-4CBD-9FCA-E03B0A1084DE}" dt="2025-11-27T10:58:03.226" v="5917"/>
          <ac:spMkLst>
            <pc:docMk/>
            <pc:sldMk cId="1353214636" sldId="3790"/>
            <ac:spMk id="46" creationId="{C86B2B61-3AB7-CC8B-F283-477EC0B9C405}"/>
          </ac:spMkLst>
        </pc:spChg>
        <pc:spChg chg="add mod">
          <ac:chgData name="Ganninger, Christian" userId="f256076c-be75-4ba0-9fbc-fcb58856680c" providerId="ADAL" clId="{4E66BAEB-BF02-4CBD-9FCA-E03B0A1084DE}" dt="2025-11-27T10:59:26.725" v="5930"/>
          <ac:spMkLst>
            <pc:docMk/>
            <pc:sldMk cId="1353214636" sldId="3790"/>
            <ac:spMk id="50" creationId="{AD60FDAE-F5CB-C7A0-5755-01AB1397C3C6}"/>
          </ac:spMkLst>
        </pc:spChg>
        <pc:spChg chg="add mod">
          <ac:chgData name="Ganninger, Christian" userId="f256076c-be75-4ba0-9fbc-fcb58856680c" providerId="ADAL" clId="{4E66BAEB-BF02-4CBD-9FCA-E03B0A1084DE}" dt="2025-11-27T10:59:26.725" v="5930"/>
          <ac:spMkLst>
            <pc:docMk/>
            <pc:sldMk cId="1353214636" sldId="3790"/>
            <ac:spMk id="51" creationId="{8BE3BCDE-E542-8CD9-AB11-EC17DAC4CF1D}"/>
          </ac:spMkLst>
        </pc:spChg>
        <pc:spChg chg="add mod">
          <ac:chgData name="Ganninger, Christian" userId="f256076c-be75-4ba0-9fbc-fcb58856680c" providerId="ADAL" clId="{4E66BAEB-BF02-4CBD-9FCA-E03B0A1084DE}" dt="2025-11-27T10:59:26.725" v="5930"/>
          <ac:spMkLst>
            <pc:docMk/>
            <pc:sldMk cId="1353214636" sldId="3790"/>
            <ac:spMk id="52" creationId="{D8ED25C2-EF94-46C9-98DA-7ACE7E9AAB50}"/>
          </ac:spMkLst>
        </pc:spChg>
        <pc:spChg chg="add mod">
          <ac:chgData name="Ganninger, Christian" userId="f256076c-be75-4ba0-9fbc-fcb58856680c" providerId="ADAL" clId="{4E66BAEB-BF02-4CBD-9FCA-E03B0A1084DE}" dt="2025-11-27T10:59:26.725" v="5930"/>
          <ac:spMkLst>
            <pc:docMk/>
            <pc:sldMk cId="1353214636" sldId="3790"/>
            <ac:spMk id="53" creationId="{68F899C5-78B9-FBD3-02C9-3CF5F1358629}"/>
          </ac:spMkLst>
        </pc:spChg>
        <pc:spChg chg="add mod">
          <ac:chgData name="Ganninger, Christian" userId="f256076c-be75-4ba0-9fbc-fcb58856680c" providerId="ADAL" clId="{4E66BAEB-BF02-4CBD-9FCA-E03B0A1084DE}" dt="2025-11-27T10:59:26.725" v="5930"/>
          <ac:spMkLst>
            <pc:docMk/>
            <pc:sldMk cId="1353214636" sldId="3790"/>
            <ac:spMk id="54" creationId="{F449A967-2C06-8F2F-9774-63868CC65A81}"/>
          </ac:spMkLst>
        </pc:spChg>
        <pc:spChg chg="add mod">
          <ac:chgData name="Ganninger, Christian" userId="f256076c-be75-4ba0-9fbc-fcb58856680c" providerId="ADAL" clId="{4E66BAEB-BF02-4CBD-9FCA-E03B0A1084DE}" dt="2025-11-27T10:59:26.725" v="5930"/>
          <ac:spMkLst>
            <pc:docMk/>
            <pc:sldMk cId="1353214636" sldId="3790"/>
            <ac:spMk id="56" creationId="{EB2F8E40-6AE1-26D6-31E9-D83B8D86A15A}"/>
          </ac:spMkLst>
        </pc:spChg>
        <pc:spChg chg="add mod">
          <ac:chgData name="Ganninger, Christian" userId="f256076c-be75-4ba0-9fbc-fcb58856680c" providerId="ADAL" clId="{4E66BAEB-BF02-4CBD-9FCA-E03B0A1084DE}" dt="2025-11-25T15:30:09.287" v="1951" actId="20577"/>
          <ac:spMkLst>
            <pc:docMk/>
            <pc:sldMk cId="1353214636" sldId="3790"/>
            <ac:spMk id="70" creationId="{4F0EFF37-C2D3-4A8C-DA80-9E9FA76BA085}"/>
          </ac:spMkLst>
        </pc:spChg>
        <pc:spChg chg="add mod">
          <ac:chgData name="Ganninger, Christian" userId="f256076c-be75-4ba0-9fbc-fcb58856680c" providerId="ADAL" clId="{4E66BAEB-BF02-4CBD-9FCA-E03B0A1084DE}" dt="2025-11-25T15:09:34.666" v="1884" actId="164"/>
          <ac:spMkLst>
            <pc:docMk/>
            <pc:sldMk cId="1353214636" sldId="3790"/>
            <ac:spMk id="71" creationId="{40CBD524-40CA-5F93-C428-BF61CA9A98B6}"/>
          </ac:spMkLst>
        </pc:spChg>
        <pc:spChg chg="add mod">
          <ac:chgData name="Ganninger, Christian" userId="f256076c-be75-4ba0-9fbc-fcb58856680c" providerId="ADAL" clId="{4E66BAEB-BF02-4CBD-9FCA-E03B0A1084DE}" dt="2025-11-25T15:09:34.666" v="1884" actId="164"/>
          <ac:spMkLst>
            <pc:docMk/>
            <pc:sldMk cId="1353214636" sldId="3790"/>
            <ac:spMk id="72" creationId="{335851C9-623C-D069-DAB9-EBD64223B6CD}"/>
          </ac:spMkLst>
        </pc:spChg>
        <pc:spChg chg="add mod">
          <ac:chgData name="Ganninger, Christian" userId="f256076c-be75-4ba0-9fbc-fcb58856680c" providerId="ADAL" clId="{4E66BAEB-BF02-4CBD-9FCA-E03B0A1084DE}" dt="2025-11-25T15:09:34.666" v="1884" actId="164"/>
          <ac:spMkLst>
            <pc:docMk/>
            <pc:sldMk cId="1353214636" sldId="3790"/>
            <ac:spMk id="73" creationId="{F3B138FD-38F4-291B-5C81-2064DAE286F6}"/>
          </ac:spMkLst>
        </pc:spChg>
        <pc:spChg chg="add mod">
          <ac:chgData name="Ganninger, Christian" userId="f256076c-be75-4ba0-9fbc-fcb58856680c" providerId="ADAL" clId="{4E66BAEB-BF02-4CBD-9FCA-E03B0A1084DE}" dt="2025-11-25T15:10:45.448" v="1916" actId="20577"/>
          <ac:spMkLst>
            <pc:docMk/>
            <pc:sldMk cId="1353214636" sldId="3790"/>
            <ac:spMk id="74" creationId="{13C64639-0FC1-B828-5C5F-2AAF0D91666F}"/>
          </ac:spMkLst>
        </pc:spChg>
        <pc:spChg chg="add mod">
          <ac:chgData name="Ganninger, Christian" userId="f256076c-be75-4ba0-9fbc-fcb58856680c" providerId="ADAL" clId="{4E66BAEB-BF02-4CBD-9FCA-E03B0A1084DE}" dt="2025-11-25T15:09:34.666" v="1884" actId="164"/>
          <ac:spMkLst>
            <pc:docMk/>
            <pc:sldMk cId="1353214636" sldId="3790"/>
            <ac:spMk id="75" creationId="{68557198-5C9C-01AA-5D78-BB9BD7BC83C8}"/>
          </ac:spMkLst>
        </pc:spChg>
        <pc:spChg chg="add mod">
          <ac:chgData name="Ganninger, Christian" userId="f256076c-be75-4ba0-9fbc-fcb58856680c" providerId="ADAL" clId="{4E66BAEB-BF02-4CBD-9FCA-E03B0A1084DE}" dt="2025-11-25T15:09:48.752" v="1886" actId="14100"/>
          <ac:spMkLst>
            <pc:docMk/>
            <pc:sldMk cId="1353214636" sldId="3790"/>
            <ac:spMk id="76" creationId="{33F7D810-3A73-0318-3DF4-BB516D9487F4}"/>
          </ac:spMkLst>
        </pc:spChg>
        <pc:spChg chg="add mod">
          <ac:chgData name="Ganninger, Christian" userId="f256076c-be75-4ba0-9fbc-fcb58856680c" providerId="ADAL" clId="{4E66BAEB-BF02-4CBD-9FCA-E03B0A1084DE}" dt="2025-11-25T15:09:34.666" v="1884" actId="164"/>
          <ac:spMkLst>
            <pc:docMk/>
            <pc:sldMk cId="1353214636" sldId="3790"/>
            <ac:spMk id="77" creationId="{81DDA1E3-D1B8-62EB-13F1-90ACAB3BA44D}"/>
          </ac:spMkLst>
        </pc:spChg>
        <pc:spChg chg="add mod">
          <ac:chgData name="Ganninger, Christian" userId="f256076c-be75-4ba0-9fbc-fcb58856680c" providerId="ADAL" clId="{4E66BAEB-BF02-4CBD-9FCA-E03B0A1084DE}" dt="2025-11-25T15:09:34.666" v="1884" actId="164"/>
          <ac:spMkLst>
            <pc:docMk/>
            <pc:sldMk cId="1353214636" sldId="3790"/>
            <ac:spMk id="78" creationId="{7A7978BC-F095-23CC-6F63-9DF5556FB8E0}"/>
          </ac:spMkLst>
        </pc:spChg>
        <pc:spChg chg="add mod">
          <ac:chgData name="Ganninger, Christian" userId="f256076c-be75-4ba0-9fbc-fcb58856680c" providerId="ADAL" clId="{4E66BAEB-BF02-4CBD-9FCA-E03B0A1084DE}" dt="2025-11-25T15:09:34.666" v="1884" actId="164"/>
          <ac:spMkLst>
            <pc:docMk/>
            <pc:sldMk cId="1353214636" sldId="3790"/>
            <ac:spMk id="79" creationId="{F9E93D01-0070-3C6B-0D05-59FB236504AC}"/>
          </ac:spMkLst>
        </pc:spChg>
        <pc:spChg chg="mod">
          <ac:chgData name="Ganninger, Christian" userId="f256076c-be75-4ba0-9fbc-fcb58856680c" providerId="ADAL" clId="{4E66BAEB-BF02-4CBD-9FCA-E03B0A1084DE}" dt="2025-11-25T15:30:18.455" v="1960" actId="20577"/>
          <ac:spMkLst>
            <pc:docMk/>
            <pc:sldMk cId="1353214636" sldId="3790"/>
            <ac:spMk id="82" creationId="{1DD93C0B-9FF2-4AC7-8287-52ACEA54CF1F}"/>
          </ac:spMkLst>
        </pc:spChg>
        <pc:spChg chg="mod">
          <ac:chgData name="Ganninger, Christian" userId="f256076c-be75-4ba0-9fbc-fcb58856680c" providerId="ADAL" clId="{4E66BAEB-BF02-4CBD-9FCA-E03B0A1084DE}" dt="2025-11-25T15:11:06.269" v="1917"/>
          <ac:spMkLst>
            <pc:docMk/>
            <pc:sldMk cId="1353214636" sldId="3790"/>
            <ac:spMk id="83" creationId="{7CEA5DC9-ED7D-4D37-4279-5CA2349DA580}"/>
          </ac:spMkLst>
        </pc:spChg>
        <pc:spChg chg="mod">
          <ac:chgData name="Ganninger, Christian" userId="f256076c-be75-4ba0-9fbc-fcb58856680c" providerId="ADAL" clId="{4E66BAEB-BF02-4CBD-9FCA-E03B0A1084DE}" dt="2025-11-25T15:11:06.269" v="1917"/>
          <ac:spMkLst>
            <pc:docMk/>
            <pc:sldMk cId="1353214636" sldId="3790"/>
            <ac:spMk id="84" creationId="{5349B3F4-54DB-1E23-D5A9-D908CF48BBB7}"/>
          </ac:spMkLst>
        </pc:spChg>
        <pc:spChg chg="mod">
          <ac:chgData name="Ganninger, Christian" userId="f256076c-be75-4ba0-9fbc-fcb58856680c" providerId="ADAL" clId="{4E66BAEB-BF02-4CBD-9FCA-E03B0A1084DE}" dt="2025-11-25T15:11:06.269" v="1917"/>
          <ac:spMkLst>
            <pc:docMk/>
            <pc:sldMk cId="1353214636" sldId="3790"/>
            <ac:spMk id="85" creationId="{B725B8E0-DE67-F858-CC65-3CE5EEA32057}"/>
          </ac:spMkLst>
        </pc:spChg>
        <pc:spChg chg="mod ord">
          <ac:chgData name="Ganninger, Christian" userId="f256076c-be75-4ba0-9fbc-fcb58856680c" providerId="ADAL" clId="{4E66BAEB-BF02-4CBD-9FCA-E03B0A1084DE}" dt="2025-11-26T13:58:31.709" v="2909" actId="20577"/>
          <ac:spMkLst>
            <pc:docMk/>
            <pc:sldMk cId="1353214636" sldId="3790"/>
            <ac:spMk id="86" creationId="{2239A008-EB92-209A-FA08-8FF5174995E0}"/>
          </ac:spMkLst>
        </pc:spChg>
        <pc:spChg chg="mod">
          <ac:chgData name="Ganninger, Christian" userId="f256076c-be75-4ba0-9fbc-fcb58856680c" providerId="ADAL" clId="{4E66BAEB-BF02-4CBD-9FCA-E03B0A1084DE}" dt="2025-11-25T15:24:56.497" v="1938" actId="14100"/>
          <ac:spMkLst>
            <pc:docMk/>
            <pc:sldMk cId="1353214636" sldId="3790"/>
            <ac:spMk id="87" creationId="{77901A0A-1985-A36E-F152-07C0D2009ED4}"/>
          </ac:spMkLst>
        </pc:spChg>
        <pc:spChg chg="mod">
          <ac:chgData name="Ganninger, Christian" userId="f256076c-be75-4ba0-9fbc-fcb58856680c" providerId="ADAL" clId="{4E66BAEB-BF02-4CBD-9FCA-E03B0A1084DE}" dt="2025-11-28T11:59:25.650" v="6712" actId="14100"/>
          <ac:spMkLst>
            <pc:docMk/>
            <pc:sldMk cId="1353214636" sldId="3790"/>
            <ac:spMk id="89" creationId="{AEF220F9-A3B9-B7D8-F69D-83A2EB5FCC0C}"/>
          </ac:spMkLst>
        </pc:spChg>
        <pc:spChg chg="mod">
          <ac:chgData name="Ganninger, Christian" userId="f256076c-be75-4ba0-9fbc-fcb58856680c" providerId="ADAL" clId="{4E66BAEB-BF02-4CBD-9FCA-E03B0A1084DE}" dt="2025-11-27T16:36:51.404" v="6672" actId="20577"/>
          <ac:spMkLst>
            <pc:docMk/>
            <pc:sldMk cId="1353214636" sldId="3790"/>
            <ac:spMk id="92" creationId="{9F7B0F24-D157-CBD5-21BF-9471AB4D241D}"/>
          </ac:spMkLst>
        </pc:spChg>
        <pc:spChg chg="mod">
          <ac:chgData name="Ganninger, Christian" userId="f256076c-be75-4ba0-9fbc-fcb58856680c" providerId="ADAL" clId="{4E66BAEB-BF02-4CBD-9FCA-E03B0A1084DE}" dt="2025-11-26T13:58:19.411" v="2902" actId="1038"/>
          <ac:spMkLst>
            <pc:docMk/>
            <pc:sldMk cId="1353214636" sldId="3790"/>
            <ac:spMk id="93" creationId="{F1BEB4E1-6E2F-44DD-8275-3DAB30FA4A01}"/>
          </ac:spMkLst>
        </pc:spChg>
        <pc:spChg chg="add mod">
          <ac:chgData name="Ganninger, Christian" userId="f256076c-be75-4ba0-9fbc-fcb58856680c" providerId="ADAL" clId="{4E66BAEB-BF02-4CBD-9FCA-E03B0A1084DE}" dt="2025-11-28T11:59:04.977" v="6711" actId="1076"/>
          <ac:spMkLst>
            <pc:docMk/>
            <pc:sldMk cId="1353214636" sldId="3790"/>
            <ac:spMk id="96" creationId="{7DE423EE-D044-B978-B8AA-51D010D03174}"/>
          </ac:spMkLst>
        </pc:spChg>
        <pc:spChg chg="mod">
          <ac:chgData name="Ganninger, Christian" userId="f256076c-be75-4ba0-9fbc-fcb58856680c" providerId="ADAL" clId="{4E66BAEB-BF02-4CBD-9FCA-E03B0A1084DE}" dt="2025-11-25T15:30:58.434" v="1977" actId="404"/>
          <ac:spMkLst>
            <pc:docMk/>
            <pc:sldMk cId="1353214636" sldId="3790"/>
            <ac:spMk id="106" creationId="{9A7BF589-F4F4-2052-7667-BC8C086C83CE}"/>
          </ac:spMkLst>
        </pc:spChg>
        <pc:spChg chg="mod">
          <ac:chgData name="Ganninger, Christian" userId="f256076c-be75-4ba0-9fbc-fcb58856680c" providerId="ADAL" clId="{4E66BAEB-BF02-4CBD-9FCA-E03B0A1084DE}" dt="2025-11-25T15:31:49.680" v="1988" actId="1037"/>
          <ac:spMkLst>
            <pc:docMk/>
            <pc:sldMk cId="1353214636" sldId="3790"/>
            <ac:spMk id="107" creationId="{31D9ACD4-8C14-8442-CF79-3A9332ED3861}"/>
          </ac:spMkLst>
        </pc:spChg>
        <pc:spChg chg="mod">
          <ac:chgData name="Ganninger, Christian" userId="f256076c-be75-4ba0-9fbc-fcb58856680c" providerId="ADAL" clId="{4E66BAEB-BF02-4CBD-9FCA-E03B0A1084DE}" dt="2025-11-25T15:32:42.968" v="2003" actId="14100"/>
          <ac:spMkLst>
            <pc:docMk/>
            <pc:sldMk cId="1353214636" sldId="3790"/>
            <ac:spMk id="108" creationId="{E4C41911-A263-06F4-813A-6B6FC731AE57}"/>
          </ac:spMkLst>
        </pc:spChg>
        <pc:spChg chg="mod">
          <ac:chgData name="Ganninger, Christian" userId="f256076c-be75-4ba0-9fbc-fcb58856680c" providerId="ADAL" clId="{4E66BAEB-BF02-4CBD-9FCA-E03B0A1084DE}" dt="2025-11-25T15:29:55.720" v="1941"/>
          <ac:spMkLst>
            <pc:docMk/>
            <pc:sldMk cId="1353214636" sldId="3790"/>
            <ac:spMk id="109" creationId="{98A23CB9-AEBF-EB02-3905-B5C29D23EFD7}"/>
          </ac:spMkLst>
        </pc:spChg>
        <pc:spChg chg="add mod">
          <ac:chgData name="Ganninger, Christian" userId="f256076c-be75-4ba0-9fbc-fcb58856680c" providerId="ADAL" clId="{4E66BAEB-BF02-4CBD-9FCA-E03B0A1084DE}" dt="2025-11-25T15:31:24.144" v="1985" actId="1038"/>
          <ac:spMkLst>
            <pc:docMk/>
            <pc:sldMk cId="1353214636" sldId="3790"/>
            <ac:spMk id="117" creationId="{9F7C10A2-A4A6-EE5A-F27B-241628BB2339}"/>
          </ac:spMkLst>
        </pc:spChg>
        <pc:spChg chg="add mod">
          <ac:chgData name="Ganninger, Christian" userId="f256076c-be75-4ba0-9fbc-fcb58856680c" providerId="ADAL" clId="{4E66BAEB-BF02-4CBD-9FCA-E03B0A1084DE}" dt="2025-11-25T15:32:01.962" v="1991" actId="1038"/>
          <ac:spMkLst>
            <pc:docMk/>
            <pc:sldMk cId="1353214636" sldId="3790"/>
            <ac:spMk id="118" creationId="{18895E89-5CD7-2BCD-5BE1-8CD9EAFC222E}"/>
          </ac:spMkLst>
        </pc:spChg>
        <pc:spChg chg="add mod">
          <ac:chgData name="Ganninger, Christian" userId="f256076c-be75-4ba0-9fbc-fcb58856680c" providerId="ADAL" clId="{4E66BAEB-BF02-4CBD-9FCA-E03B0A1084DE}" dt="2025-11-25T15:32:45.849" v="2004" actId="1038"/>
          <ac:spMkLst>
            <pc:docMk/>
            <pc:sldMk cId="1353214636" sldId="3790"/>
            <ac:spMk id="119" creationId="{2909344D-6838-31F9-9F15-AD77514BC536}"/>
          </ac:spMkLst>
        </pc:spChg>
        <pc:grpChg chg="add mod">
          <ac:chgData name="Ganninger, Christian" userId="f256076c-be75-4ba0-9fbc-fcb58856680c" providerId="ADAL" clId="{4E66BAEB-BF02-4CBD-9FCA-E03B0A1084DE}" dt="2025-11-27T10:59:26.725" v="5930"/>
          <ac:grpSpMkLst>
            <pc:docMk/>
            <pc:sldMk cId="1353214636" sldId="3790"/>
            <ac:grpSpMk id="49" creationId="{CE196C59-4D42-CA52-4C4D-C9A234732B65}"/>
          </ac:grpSpMkLst>
        </pc:grpChg>
        <pc:grpChg chg="mod">
          <ac:chgData name="Ganninger, Christian" userId="f256076c-be75-4ba0-9fbc-fcb58856680c" providerId="ADAL" clId="{4E66BAEB-BF02-4CBD-9FCA-E03B0A1084DE}" dt="2025-11-25T15:24:33.099" v="1933" actId="1076"/>
          <ac:grpSpMkLst>
            <pc:docMk/>
            <pc:sldMk cId="1353214636" sldId="3790"/>
            <ac:grpSpMk id="80" creationId="{45BF0102-821B-D4DD-BB1B-40B8D419B995}"/>
          </ac:grpSpMkLst>
        </pc:grpChg>
        <pc:grpChg chg="mod">
          <ac:chgData name="Ganninger, Christian" userId="f256076c-be75-4ba0-9fbc-fcb58856680c" providerId="ADAL" clId="{4E66BAEB-BF02-4CBD-9FCA-E03B0A1084DE}" dt="2025-11-25T15:24:33.099" v="1933" actId="1076"/>
          <ac:grpSpMkLst>
            <pc:docMk/>
            <pc:sldMk cId="1353214636" sldId="3790"/>
            <ac:grpSpMk id="81" creationId="{FBC4E194-B9D2-184E-D965-DABEF983364F}"/>
          </ac:grpSpMkLst>
        </pc:grpChg>
        <pc:grpChg chg="mod">
          <ac:chgData name="Ganninger, Christian" userId="f256076c-be75-4ba0-9fbc-fcb58856680c" providerId="ADAL" clId="{4E66BAEB-BF02-4CBD-9FCA-E03B0A1084DE}" dt="2025-11-25T15:30:00.088" v="1942" actId="1076"/>
          <ac:grpSpMkLst>
            <pc:docMk/>
            <pc:sldMk cId="1353214636" sldId="3790"/>
            <ac:grpSpMk id="102" creationId="{300A5022-C8DC-84B9-9CAB-167EA0008B14}"/>
          </ac:grpSpMkLst>
        </pc:grpChg>
        <pc:grpChg chg="mod">
          <ac:chgData name="Ganninger, Christian" userId="f256076c-be75-4ba0-9fbc-fcb58856680c" providerId="ADAL" clId="{4E66BAEB-BF02-4CBD-9FCA-E03B0A1084DE}" dt="2025-11-25T15:35:24.561" v="2163" actId="1076"/>
          <ac:grpSpMkLst>
            <pc:docMk/>
            <pc:sldMk cId="1353214636" sldId="3790"/>
            <ac:grpSpMk id="105" creationId="{85BAF487-952B-4D70-626A-135218FA544B}"/>
          </ac:grpSpMkLst>
        </pc:grpChg>
        <pc:grpChg chg="mod topLvl">
          <ac:chgData name="Ganninger, Christian" userId="f256076c-be75-4ba0-9fbc-fcb58856680c" providerId="ADAL" clId="{4E66BAEB-BF02-4CBD-9FCA-E03B0A1084DE}" dt="2025-11-25T15:35:13.784" v="2162" actId="1076"/>
          <ac:grpSpMkLst>
            <pc:docMk/>
            <pc:sldMk cId="1353214636" sldId="3790"/>
            <ac:grpSpMk id="129" creationId="{09F6AA75-437B-FE76-A591-E8BA8470F380}"/>
          </ac:grpSpMkLst>
        </pc:grpChg>
        <pc:picChg chg="add del mod">
          <ac:chgData name="Ganninger, Christian" userId="f256076c-be75-4ba0-9fbc-fcb58856680c" providerId="ADAL" clId="{4E66BAEB-BF02-4CBD-9FCA-E03B0A1084DE}" dt="2025-11-27T10:58:11.029" v="5919" actId="478"/>
          <ac:picMkLst>
            <pc:docMk/>
            <pc:sldMk cId="1353214636" sldId="3790"/>
            <ac:picMk id="47" creationId="{2C148056-6531-F80A-D40C-2B0DF0A6E85A}"/>
          </ac:picMkLst>
        </pc:picChg>
        <pc:picChg chg="add mod">
          <ac:chgData name="Ganninger, Christian" userId="f256076c-be75-4ba0-9fbc-fcb58856680c" providerId="ADAL" clId="{4E66BAEB-BF02-4CBD-9FCA-E03B0A1084DE}" dt="2025-11-27T10:58:18.548" v="5928" actId="1037"/>
          <ac:picMkLst>
            <pc:docMk/>
            <pc:sldMk cId="1353214636" sldId="3790"/>
            <ac:picMk id="48" creationId="{3D175CF0-AF3E-3CA6-F431-204946106D17}"/>
          </ac:picMkLst>
        </pc:picChg>
        <pc:picChg chg="add del mod">
          <ac:chgData name="Ganninger, Christian" userId="f256076c-be75-4ba0-9fbc-fcb58856680c" providerId="ADAL" clId="{4E66BAEB-BF02-4CBD-9FCA-E03B0A1084DE}" dt="2025-11-27T10:59:32.084" v="5933" actId="478"/>
          <ac:picMkLst>
            <pc:docMk/>
            <pc:sldMk cId="1353214636" sldId="3790"/>
            <ac:picMk id="55" creationId="{58DF3031-B9C2-8681-1EE3-BE4CE2C4C2DD}"/>
          </ac:picMkLst>
        </pc:picChg>
        <pc:picChg chg="add mod">
          <ac:chgData name="Ganninger, Christian" userId="f256076c-be75-4ba0-9fbc-fcb58856680c" providerId="ADAL" clId="{4E66BAEB-BF02-4CBD-9FCA-E03B0A1084DE}" dt="2025-11-27T10:59:36.342" v="5935" actId="1036"/>
          <ac:picMkLst>
            <pc:docMk/>
            <pc:sldMk cId="1353214636" sldId="3790"/>
            <ac:picMk id="57" creationId="{07635695-FC1A-C2C9-802F-757F0219C5CB}"/>
          </ac:picMkLst>
        </pc:picChg>
      </pc:sldChg>
      <pc:sldChg chg="addSp delSp modSp add mod">
        <pc:chgData name="Ganninger, Christian" userId="f256076c-be75-4ba0-9fbc-fcb58856680c" providerId="ADAL" clId="{4E66BAEB-BF02-4CBD-9FCA-E03B0A1084DE}" dt="2025-11-28T12:12:37.289" v="6767" actId="20577"/>
        <pc:sldMkLst>
          <pc:docMk/>
          <pc:sldMk cId="653809700" sldId="3791"/>
        </pc:sldMkLst>
        <pc:spChg chg="add mod">
          <ac:chgData name="Ganninger, Christian" userId="f256076c-be75-4ba0-9fbc-fcb58856680c" providerId="ADAL" clId="{4E66BAEB-BF02-4CBD-9FCA-E03B0A1084DE}" dt="2025-11-26T14:02:31.761" v="2940" actId="1076"/>
          <ac:spMkLst>
            <pc:docMk/>
            <pc:sldMk cId="653809700" sldId="3791"/>
            <ac:spMk id="2" creationId="{C36DCF5D-2259-223A-9C97-D117C2E35241}"/>
          </ac:spMkLst>
        </pc:spChg>
        <pc:spChg chg="mod">
          <ac:chgData name="Ganninger, Christian" userId="f256076c-be75-4ba0-9fbc-fcb58856680c" providerId="ADAL" clId="{4E66BAEB-BF02-4CBD-9FCA-E03B0A1084DE}" dt="2025-11-28T12:02:20.760" v="6724" actId="20577"/>
          <ac:spMkLst>
            <pc:docMk/>
            <pc:sldMk cId="653809700" sldId="3791"/>
            <ac:spMk id="4" creationId="{6AB108E2-766F-E661-3964-1A7A7C741C4C}"/>
          </ac:spMkLst>
        </pc:spChg>
        <pc:spChg chg="mod">
          <ac:chgData name="Ganninger, Christian" userId="f256076c-be75-4ba0-9fbc-fcb58856680c" providerId="ADAL" clId="{4E66BAEB-BF02-4CBD-9FCA-E03B0A1084DE}" dt="2025-11-26T14:02:56.544" v="2947" actId="1076"/>
          <ac:spMkLst>
            <pc:docMk/>
            <pc:sldMk cId="653809700" sldId="3791"/>
            <ac:spMk id="9" creationId="{BCCE9A16-F219-38D9-C5FA-F54534104BA5}"/>
          </ac:spMkLst>
        </pc:spChg>
        <pc:spChg chg="add mod ord">
          <ac:chgData name="Ganninger, Christian" userId="f256076c-be75-4ba0-9fbc-fcb58856680c" providerId="ADAL" clId="{4E66BAEB-BF02-4CBD-9FCA-E03B0A1084DE}" dt="2025-11-28T12:12:37.289" v="6767" actId="20577"/>
          <ac:spMkLst>
            <pc:docMk/>
            <pc:sldMk cId="653809700" sldId="3791"/>
            <ac:spMk id="16" creationId="{25717052-9817-FE1B-9340-08947546EBF4}"/>
          </ac:spMkLst>
        </pc:spChg>
        <pc:picChg chg="add mod">
          <ac:chgData name="Ganninger, Christian" userId="f256076c-be75-4ba0-9fbc-fcb58856680c" providerId="ADAL" clId="{4E66BAEB-BF02-4CBD-9FCA-E03B0A1084DE}" dt="2025-11-26T14:02:47.926" v="2944" actId="14100"/>
          <ac:picMkLst>
            <pc:docMk/>
            <pc:sldMk cId="653809700" sldId="3791"/>
            <ac:picMk id="5" creationId="{1857E3A5-4C2D-87B2-713B-62E179DA80F9}"/>
          </ac:picMkLst>
        </pc:picChg>
        <pc:picChg chg="add mod">
          <ac:chgData name="Ganninger, Christian" userId="f256076c-be75-4ba0-9fbc-fcb58856680c" providerId="ADAL" clId="{4E66BAEB-BF02-4CBD-9FCA-E03B0A1084DE}" dt="2025-11-26T14:02:31.761" v="2940" actId="1076"/>
          <ac:picMkLst>
            <pc:docMk/>
            <pc:sldMk cId="653809700" sldId="3791"/>
            <ac:picMk id="6" creationId="{D316D455-526B-F315-E928-978ED3397BBD}"/>
          </ac:picMkLst>
        </pc:picChg>
        <pc:picChg chg="mod">
          <ac:chgData name="Ganninger, Christian" userId="f256076c-be75-4ba0-9fbc-fcb58856680c" providerId="ADAL" clId="{4E66BAEB-BF02-4CBD-9FCA-E03B0A1084DE}" dt="2025-11-26T14:03:07.655" v="2950" actId="1076"/>
          <ac:picMkLst>
            <pc:docMk/>
            <pc:sldMk cId="653809700" sldId="3791"/>
            <ac:picMk id="7" creationId="{F1D27EE4-CD7C-8B6D-55E7-EB1D49D03FE9}"/>
          </ac:picMkLst>
        </pc:picChg>
        <pc:picChg chg="add mod">
          <ac:chgData name="Ganninger, Christian" userId="f256076c-be75-4ba0-9fbc-fcb58856680c" providerId="ADAL" clId="{4E66BAEB-BF02-4CBD-9FCA-E03B0A1084DE}" dt="2025-11-26T14:03:12.087" v="2951" actId="1076"/>
          <ac:picMkLst>
            <pc:docMk/>
            <pc:sldMk cId="653809700" sldId="3791"/>
            <ac:picMk id="12" creationId="{A773F908-B6DB-8F35-D3EE-80D9788C8398}"/>
          </ac:picMkLst>
        </pc:picChg>
      </pc:sldChg>
      <pc:sldChg chg="addSp delSp modSp add mod ord">
        <pc:chgData name="Ganninger, Christian" userId="f256076c-be75-4ba0-9fbc-fcb58856680c" providerId="ADAL" clId="{4E66BAEB-BF02-4CBD-9FCA-E03B0A1084DE}" dt="2025-11-28T12:33:22.523" v="6944" actId="20577"/>
        <pc:sldMkLst>
          <pc:docMk/>
          <pc:sldMk cId="1461067543" sldId="3792"/>
        </pc:sldMkLst>
        <pc:spChg chg="mod">
          <ac:chgData name="Ganninger, Christian" userId="f256076c-be75-4ba0-9fbc-fcb58856680c" providerId="ADAL" clId="{4E66BAEB-BF02-4CBD-9FCA-E03B0A1084DE}" dt="2025-11-26T15:15:38.984" v="4349" actId="20577"/>
          <ac:spMkLst>
            <pc:docMk/>
            <pc:sldMk cId="1461067543" sldId="3792"/>
            <ac:spMk id="4" creationId="{E509BDD1-F323-2087-83B1-504C6016BFC1}"/>
          </ac:spMkLst>
        </pc:spChg>
        <pc:spChg chg="add mod ord">
          <ac:chgData name="Ganninger, Christian" userId="f256076c-be75-4ba0-9fbc-fcb58856680c" providerId="ADAL" clId="{4E66BAEB-BF02-4CBD-9FCA-E03B0A1084DE}" dt="2025-11-26T15:35:30.378" v="4557" actId="1076"/>
          <ac:spMkLst>
            <pc:docMk/>
            <pc:sldMk cId="1461067543" sldId="3792"/>
            <ac:spMk id="6" creationId="{82F73D0A-87F7-A976-BD48-EDD42F9C7512}"/>
          </ac:spMkLst>
        </pc:spChg>
        <pc:spChg chg="mod">
          <ac:chgData name="Ganninger, Christian" userId="f256076c-be75-4ba0-9fbc-fcb58856680c" providerId="ADAL" clId="{4E66BAEB-BF02-4CBD-9FCA-E03B0A1084DE}" dt="2025-11-28T12:25:18.782" v="6886"/>
          <ac:spMkLst>
            <pc:docMk/>
            <pc:sldMk cId="1461067543" sldId="3792"/>
            <ac:spMk id="12" creationId="{D1BD3D35-3982-193C-3EAA-BB8EF6EBF337}"/>
          </ac:spMkLst>
        </pc:spChg>
        <pc:spChg chg="add mod">
          <ac:chgData name="Ganninger, Christian" userId="f256076c-be75-4ba0-9fbc-fcb58856680c" providerId="ADAL" clId="{4E66BAEB-BF02-4CBD-9FCA-E03B0A1084DE}" dt="2025-11-28T12:27:50.525" v="6888"/>
          <ac:spMkLst>
            <pc:docMk/>
            <pc:sldMk cId="1461067543" sldId="3792"/>
            <ac:spMk id="13" creationId="{B32FFBD6-3A4C-D6DF-D1F7-51B15C01C3A8}"/>
          </ac:spMkLst>
        </pc:spChg>
        <pc:spChg chg="add mod">
          <ac:chgData name="Ganninger, Christian" userId="f256076c-be75-4ba0-9fbc-fcb58856680c" providerId="ADAL" clId="{4E66BAEB-BF02-4CBD-9FCA-E03B0A1084DE}" dt="2025-11-28T12:27:50.525" v="6888"/>
          <ac:spMkLst>
            <pc:docMk/>
            <pc:sldMk cId="1461067543" sldId="3792"/>
            <ac:spMk id="23" creationId="{351B58EA-A9B4-5ABE-2BC9-E05FB557ECF3}"/>
          </ac:spMkLst>
        </pc:spChg>
        <pc:spChg chg="add mod">
          <ac:chgData name="Ganninger, Christian" userId="f256076c-be75-4ba0-9fbc-fcb58856680c" providerId="ADAL" clId="{4E66BAEB-BF02-4CBD-9FCA-E03B0A1084DE}" dt="2025-11-28T12:25:15.726" v="6885"/>
          <ac:spMkLst>
            <pc:docMk/>
            <pc:sldMk cId="1461067543" sldId="3792"/>
            <ac:spMk id="25" creationId="{12813E46-0572-A49B-B525-C1E4D629F2A5}"/>
          </ac:spMkLst>
        </pc:spChg>
        <pc:spChg chg="add mod">
          <ac:chgData name="Ganninger, Christian" userId="f256076c-be75-4ba0-9fbc-fcb58856680c" providerId="ADAL" clId="{4E66BAEB-BF02-4CBD-9FCA-E03B0A1084DE}" dt="2025-11-28T12:25:15.726" v="6885"/>
          <ac:spMkLst>
            <pc:docMk/>
            <pc:sldMk cId="1461067543" sldId="3792"/>
            <ac:spMk id="31" creationId="{77028813-C101-A3F3-455A-E05C105E5537}"/>
          </ac:spMkLst>
        </pc:spChg>
        <pc:spChg chg="add mod">
          <ac:chgData name="Ganninger, Christian" userId="f256076c-be75-4ba0-9fbc-fcb58856680c" providerId="ADAL" clId="{4E66BAEB-BF02-4CBD-9FCA-E03B0A1084DE}" dt="2025-11-28T12:25:18.782" v="6886"/>
          <ac:spMkLst>
            <pc:docMk/>
            <pc:sldMk cId="1461067543" sldId="3792"/>
            <ac:spMk id="33" creationId="{3781C61B-3883-44EF-9FEC-0B58DD7C2BA5}"/>
          </ac:spMkLst>
        </pc:spChg>
        <pc:spChg chg="add mod">
          <ac:chgData name="Ganninger, Christian" userId="f256076c-be75-4ba0-9fbc-fcb58856680c" providerId="ADAL" clId="{4E66BAEB-BF02-4CBD-9FCA-E03B0A1084DE}" dt="2025-11-28T12:25:15.726" v="6885"/>
          <ac:spMkLst>
            <pc:docMk/>
            <pc:sldMk cId="1461067543" sldId="3792"/>
            <ac:spMk id="37" creationId="{173F40A1-6B84-5D14-03CB-CA48EA2813AB}"/>
          </ac:spMkLst>
        </pc:spChg>
        <pc:spChg chg="add mod">
          <ac:chgData name="Ganninger, Christian" userId="f256076c-be75-4ba0-9fbc-fcb58856680c" providerId="ADAL" clId="{4E66BAEB-BF02-4CBD-9FCA-E03B0A1084DE}" dt="2025-11-28T12:27:50.525" v="6888"/>
          <ac:spMkLst>
            <pc:docMk/>
            <pc:sldMk cId="1461067543" sldId="3792"/>
            <ac:spMk id="37" creationId="{28B2EC75-E738-40A4-7440-65FCDD8B710D}"/>
          </ac:spMkLst>
        </pc:spChg>
        <pc:spChg chg="add mod">
          <ac:chgData name="Ganninger, Christian" userId="f256076c-be75-4ba0-9fbc-fcb58856680c" providerId="ADAL" clId="{4E66BAEB-BF02-4CBD-9FCA-E03B0A1084DE}" dt="2025-11-28T12:27:50.525" v="6888"/>
          <ac:spMkLst>
            <pc:docMk/>
            <pc:sldMk cId="1461067543" sldId="3792"/>
            <ac:spMk id="38" creationId="{48626FA0-F1AE-E012-CC16-3977C8BEF9D8}"/>
          </ac:spMkLst>
        </pc:spChg>
        <pc:spChg chg="add mod">
          <ac:chgData name="Ganninger, Christian" userId="f256076c-be75-4ba0-9fbc-fcb58856680c" providerId="ADAL" clId="{4E66BAEB-BF02-4CBD-9FCA-E03B0A1084DE}" dt="2025-11-28T12:25:15.726" v="6885"/>
          <ac:spMkLst>
            <pc:docMk/>
            <pc:sldMk cId="1461067543" sldId="3792"/>
            <ac:spMk id="42" creationId="{8B9CF389-F711-329B-E46E-1337269D53E0}"/>
          </ac:spMkLst>
        </pc:spChg>
        <pc:spChg chg="add mod">
          <ac:chgData name="Ganninger, Christian" userId="f256076c-be75-4ba0-9fbc-fcb58856680c" providerId="ADAL" clId="{4E66BAEB-BF02-4CBD-9FCA-E03B0A1084DE}" dt="2025-11-28T12:27:50.525" v="6888"/>
          <ac:spMkLst>
            <pc:docMk/>
            <pc:sldMk cId="1461067543" sldId="3792"/>
            <ac:spMk id="43" creationId="{BF3D15A2-0A1C-48CB-B774-ADB54190FDC5}"/>
          </ac:spMkLst>
        </pc:spChg>
        <pc:spChg chg="add mod">
          <ac:chgData name="Ganninger, Christian" userId="f256076c-be75-4ba0-9fbc-fcb58856680c" providerId="ADAL" clId="{4E66BAEB-BF02-4CBD-9FCA-E03B0A1084DE}" dt="2025-11-28T12:27:50.525" v="6888"/>
          <ac:spMkLst>
            <pc:docMk/>
            <pc:sldMk cId="1461067543" sldId="3792"/>
            <ac:spMk id="44" creationId="{BDF1C52F-57B1-3309-D405-D16A8D7F4439}"/>
          </ac:spMkLst>
        </pc:spChg>
        <pc:spChg chg="add mod">
          <ac:chgData name="Ganninger, Christian" userId="f256076c-be75-4ba0-9fbc-fcb58856680c" providerId="ADAL" clId="{4E66BAEB-BF02-4CBD-9FCA-E03B0A1084DE}" dt="2025-11-28T12:25:18.782" v="6886"/>
          <ac:spMkLst>
            <pc:docMk/>
            <pc:sldMk cId="1461067543" sldId="3792"/>
            <ac:spMk id="48" creationId="{82397417-CAA3-D15D-7351-8FDDF11E05EA}"/>
          </ac:spMkLst>
        </pc:spChg>
        <pc:spChg chg="mod">
          <ac:chgData name="Ganninger, Christian" userId="f256076c-be75-4ba0-9fbc-fcb58856680c" providerId="ADAL" clId="{4E66BAEB-BF02-4CBD-9FCA-E03B0A1084DE}" dt="2025-11-28T12:25:18.782" v="6886"/>
          <ac:spMkLst>
            <pc:docMk/>
            <pc:sldMk cId="1461067543" sldId="3792"/>
            <ac:spMk id="50" creationId="{E8E07609-CCFD-C76E-CB91-413CBEF62E35}"/>
          </ac:spMkLst>
        </pc:spChg>
        <pc:spChg chg="mod">
          <ac:chgData name="Ganninger, Christian" userId="f256076c-be75-4ba0-9fbc-fcb58856680c" providerId="ADAL" clId="{4E66BAEB-BF02-4CBD-9FCA-E03B0A1084DE}" dt="2025-11-28T12:25:18.782" v="6886"/>
          <ac:spMkLst>
            <pc:docMk/>
            <pc:sldMk cId="1461067543" sldId="3792"/>
            <ac:spMk id="52" creationId="{C34209B3-9111-AF84-2554-7E97E05BFA0E}"/>
          </ac:spMkLst>
        </pc:spChg>
        <pc:spChg chg="add mod">
          <ac:chgData name="Ganninger, Christian" userId="f256076c-be75-4ba0-9fbc-fcb58856680c" providerId="ADAL" clId="{4E66BAEB-BF02-4CBD-9FCA-E03B0A1084DE}" dt="2025-11-28T12:25:15.726" v="6885"/>
          <ac:spMkLst>
            <pc:docMk/>
            <pc:sldMk cId="1461067543" sldId="3792"/>
            <ac:spMk id="56" creationId="{6C1B5CD8-18EF-154C-E10E-9E7B238EF133}"/>
          </ac:spMkLst>
        </pc:spChg>
        <pc:spChg chg="add mod">
          <ac:chgData name="Ganninger, Christian" userId="f256076c-be75-4ba0-9fbc-fcb58856680c" providerId="ADAL" clId="{4E66BAEB-BF02-4CBD-9FCA-E03B0A1084DE}" dt="2025-11-28T12:27:50.525" v="6888"/>
          <ac:spMkLst>
            <pc:docMk/>
            <pc:sldMk cId="1461067543" sldId="3792"/>
            <ac:spMk id="56" creationId="{A538962C-4775-55B4-FA57-8F302A16C1C5}"/>
          </ac:spMkLst>
        </pc:spChg>
        <pc:spChg chg="add mod">
          <ac:chgData name="Ganninger, Christian" userId="f256076c-be75-4ba0-9fbc-fcb58856680c" providerId="ADAL" clId="{4E66BAEB-BF02-4CBD-9FCA-E03B0A1084DE}" dt="2025-11-28T12:25:15.726" v="6885"/>
          <ac:spMkLst>
            <pc:docMk/>
            <pc:sldMk cId="1461067543" sldId="3792"/>
            <ac:spMk id="64" creationId="{3BB1BB75-FF57-BEBB-A3ED-1BEB140BDE22}"/>
          </ac:spMkLst>
        </pc:spChg>
        <pc:spChg chg="add mod">
          <ac:chgData name="Ganninger, Christian" userId="f256076c-be75-4ba0-9fbc-fcb58856680c" providerId="ADAL" clId="{4E66BAEB-BF02-4CBD-9FCA-E03B0A1084DE}" dt="2025-11-28T12:27:50.525" v="6888"/>
          <ac:spMkLst>
            <pc:docMk/>
            <pc:sldMk cId="1461067543" sldId="3792"/>
            <ac:spMk id="64" creationId="{44427DD3-A237-44F6-129F-4B9D1A478EE0}"/>
          </ac:spMkLst>
        </pc:spChg>
        <pc:spChg chg="mod">
          <ac:chgData name="Ganninger, Christian" userId="f256076c-be75-4ba0-9fbc-fcb58856680c" providerId="ADAL" clId="{4E66BAEB-BF02-4CBD-9FCA-E03B0A1084DE}" dt="2025-11-28T12:25:18.782" v="6886"/>
          <ac:spMkLst>
            <pc:docMk/>
            <pc:sldMk cId="1461067543" sldId="3792"/>
            <ac:spMk id="66" creationId="{7AB08254-791E-66BB-FBB5-CF11C53F8CA4}"/>
          </ac:spMkLst>
        </pc:spChg>
        <pc:spChg chg="add mod">
          <ac:chgData name="Ganninger, Christian" userId="f256076c-be75-4ba0-9fbc-fcb58856680c" providerId="ADAL" clId="{4E66BAEB-BF02-4CBD-9FCA-E03B0A1084DE}" dt="2025-11-28T12:25:18.782" v="6886"/>
          <ac:spMkLst>
            <pc:docMk/>
            <pc:sldMk cId="1461067543" sldId="3792"/>
            <ac:spMk id="67" creationId="{88ECAB0C-586C-35AD-C79C-804A2BAB73EA}"/>
          </ac:spMkLst>
        </pc:spChg>
        <pc:spChg chg="mod">
          <ac:chgData name="Ganninger, Christian" userId="f256076c-be75-4ba0-9fbc-fcb58856680c" providerId="ADAL" clId="{4E66BAEB-BF02-4CBD-9FCA-E03B0A1084DE}" dt="2025-11-28T12:25:18.782" v="6886"/>
          <ac:spMkLst>
            <pc:docMk/>
            <pc:sldMk cId="1461067543" sldId="3792"/>
            <ac:spMk id="70" creationId="{BA5952C0-1ADF-B19A-7CC0-DC73B583186C}"/>
          </ac:spMkLst>
        </pc:spChg>
        <pc:spChg chg="mod">
          <ac:chgData name="Ganninger, Christian" userId="f256076c-be75-4ba0-9fbc-fcb58856680c" providerId="ADAL" clId="{4E66BAEB-BF02-4CBD-9FCA-E03B0A1084DE}" dt="2025-11-28T12:25:18.782" v="6886"/>
          <ac:spMkLst>
            <pc:docMk/>
            <pc:sldMk cId="1461067543" sldId="3792"/>
            <ac:spMk id="71" creationId="{8EEFFE16-B852-2192-97F0-6657D64404C7}"/>
          </ac:spMkLst>
        </pc:spChg>
        <pc:spChg chg="add mod">
          <ac:chgData name="Ganninger, Christian" userId="f256076c-be75-4ba0-9fbc-fcb58856680c" providerId="ADAL" clId="{4E66BAEB-BF02-4CBD-9FCA-E03B0A1084DE}" dt="2025-11-28T12:27:50.525" v="6888"/>
          <ac:spMkLst>
            <pc:docMk/>
            <pc:sldMk cId="1461067543" sldId="3792"/>
            <ac:spMk id="74" creationId="{760C4634-3AF0-0070-999F-A2F0029677BD}"/>
          </ac:spMkLst>
        </pc:spChg>
        <pc:spChg chg="add mod">
          <ac:chgData name="Ganninger, Christian" userId="f256076c-be75-4ba0-9fbc-fcb58856680c" providerId="ADAL" clId="{4E66BAEB-BF02-4CBD-9FCA-E03B0A1084DE}" dt="2025-11-28T12:25:15.726" v="6885"/>
          <ac:spMkLst>
            <pc:docMk/>
            <pc:sldMk cId="1461067543" sldId="3792"/>
            <ac:spMk id="75" creationId="{1A15390A-5DA3-FE25-4235-6B753E283A09}"/>
          </ac:spMkLst>
        </pc:spChg>
        <pc:spChg chg="add mod">
          <ac:chgData name="Ganninger, Christian" userId="f256076c-be75-4ba0-9fbc-fcb58856680c" providerId="ADAL" clId="{4E66BAEB-BF02-4CBD-9FCA-E03B0A1084DE}" dt="2025-11-28T12:27:50.525" v="6888"/>
          <ac:spMkLst>
            <pc:docMk/>
            <pc:sldMk cId="1461067543" sldId="3792"/>
            <ac:spMk id="76" creationId="{B80104A2-FF03-8B9E-E55E-3155209190F9}"/>
          </ac:spMkLst>
        </pc:spChg>
        <pc:spChg chg="mod">
          <ac:chgData name="Ganninger, Christian" userId="f256076c-be75-4ba0-9fbc-fcb58856680c" providerId="ADAL" clId="{4E66BAEB-BF02-4CBD-9FCA-E03B0A1084DE}" dt="2025-11-28T12:25:18.782" v="6886"/>
          <ac:spMkLst>
            <pc:docMk/>
            <pc:sldMk cId="1461067543" sldId="3792"/>
            <ac:spMk id="79" creationId="{7A1AB80B-596D-275F-045F-FA1D0F5A1684}"/>
          </ac:spMkLst>
        </pc:spChg>
        <pc:spChg chg="add mod">
          <ac:chgData name="Ganninger, Christian" userId="f256076c-be75-4ba0-9fbc-fcb58856680c" providerId="ADAL" clId="{4E66BAEB-BF02-4CBD-9FCA-E03B0A1084DE}" dt="2025-11-28T12:29:27.901" v="6908" actId="688"/>
          <ac:spMkLst>
            <pc:docMk/>
            <pc:sldMk cId="1461067543" sldId="3792"/>
            <ac:spMk id="81" creationId="{58C6CE6C-0AF6-CDE2-4C57-6E17079E758D}"/>
          </ac:spMkLst>
        </pc:spChg>
        <pc:spChg chg="add mod">
          <ac:chgData name="Ganninger, Christian" userId="f256076c-be75-4ba0-9fbc-fcb58856680c" providerId="ADAL" clId="{4E66BAEB-BF02-4CBD-9FCA-E03B0A1084DE}" dt="2025-11-28T12:32:58.470" v="6939"/>
          <ac:spMkLst>
            <pc:docMk/>
            <pc:sldMk cId="1461067543" sldId="3792"/>
            <ac:spMk id="90" creationId="{51815105-E8C9-C2D2-5FDF-B4692B594921}"/>
          </ac:spMkLst>
        </pc:spChg>
        <pc:spChg chg="add mod">
          <ac:chgData name="Ganninger, Christian" userId="f256076c-be75-4ba0-9fbc-fcb58856680c" providerId="ADAL" clId="{4E66BAEB-BF02-4CBD-9FCA-E03B0A1084DE}" dt="2025-11-28T12:32:58.470" v="6939"/>
          <ac:spMkLst>
            <pc:docMk/>
            <pc:sldMk cId="1461067543" sldId="3792"/>
            <ac:spMk id="108" creationId="{CB5F6CED-0BB6-668A-8515-129C5B7AA9C6}"/>
          </ac:spMkLst>
        </pc:spChg>
        <pc:spChg chg="add mod">
          <ac:chgData name="Ganninger, Christian" userId="f256076c-be75-4ba0-9fbc-fcb58856680c" providerId="ADAL" clId="{4E66BAEB-BF02-4CBD-9FCA-E03B0A1084DE}" dt="2025-11-28T12:32:58.470" v="6939"/>
          <ac:spMkLst>
            <pc:docMk/>
            <pc:sldMk cId="1461067543" sldId="3792"/>
            <ac:spMk id="117" creationId="{79F3A1D9-8032-3B59-ED9D-068B5EE5F198}"/>
          </ac:spMkLst>
        </pc:spChg>
        <pc:spChg chg="add mod">
          <ac:chgData name="Ganninger, Christian" userId="f256076c-be75-4ba0-9fbc-fcb58856680c" providerId="ADAL" clId="{4E66BAEB-BF02-4CBD-9FCA-E03B0A1084DE}" dt="2025-11-28T12:32:58.470" v="6939"/>
          <ac:spMkLst>
            <pc:docMk/>
            <pc:sldMk cId="1461067543" sldId="3792"/>
            <ac:spMk id="119" creationId="{593F222B-BC64-C95F-996E-7A2BB3D4C62E}"/>
          </ac:spMkLst>
        </pc:spChg>
        <pc:spChg chg="add mod">
          <ac:chgData name="Ganninger, Christian" userId="f256076c-be75-4ba0-9fbc-fcb58856680c" providerId="ADAL" clId="{4E66BAEB-BF02-4CBD-9FCA-E03B0A1084DE}" dt="2025-11-28T12:32:58.470" v="6939"/>
          <ac:spMkLst>
            <pc:docMk/>
            <pc:sldMk cId="1461067543" sldId="3792"/>
            <ac:spMk id="125" creationId="{0FCE003E-3BB4-C8D5-33C9-6A5FEF6FABE2}"/>
          </ac:spMkLst>
        </pc:spChg>
        <pc:spChg chg="add mod">
          <ac:chgData name="Ganninger, Christian" userId="f256076c-be75-4ba0-9fbc-fcb58856680c" providerId="ADAL" clId="{4E66BAEB-BF02-4CBD-9FCA-E03B0A1084DE}" dt="2025-11-28T12:32:58.470" v="6939"/>
          <ac:spMkLst>
            <pc:docMk/>
            <pc:sldMk cId="1461067543" sldId="3792"/>
            <ac:spMk id="194" creationId="{589105F6-8385-ED5A-7596-1BF0D78C0C6E}"/>
          </ac:spMkLst>
        </pc:spChg>
        <pc:spChg chg="add mod">
          <ac:chgData name="Ganninger, Christian" userId="f256076c-be75-4ba0-9fbc-fcb58856680c" providerId="ADAL" clId="{4E66BAEB-BF02-4CBD-9FCA-E03B0A1084DE}" dt="2025-11-28T12:32:58.470" v="6939"/>
          <ac:spMkLst>
            <pc:docMk/>
            <pc:sldMk cId="1461067543" sldId="3792"/>
            <ac:spMk id="203" creationId="{96C36C60-B40B-742F-0E99-6DAA23E85851}"/>
          </ac:spMkLst>
        </pc:spChg>
        <pc:spChg chg="add mod">
          <ac:chgData name="Ganninger, Christian" userId="f256076c-be75-4ba0-9fbc-fcb58856680c" providerId="ADAL" clId="{4E66BAEB-BF02-4CBD-9FCA-E03B0A1084DE}" dt="2025-11-28T12:32:58.470" v="6939"/>
          <ac:spMkLst>
            <pc:docMk/>
            <pc:sldMk cId="1461067543" sldId="3792"/>
            <ac:spMk id="206" creationId="{0D9656C8-D439-8F01-3699-3313667EEB1C}"/>
          </ac:spMkLst>
        </pc:spChg>
        <pc:spChg chg="add mod">
          <ac:chgData name="Ganninger, Christian" userId="f256076c-be75-4ba0-9fbc-fcb58856680c" providerId="ADAL" clId="{4E66BAEB-BF02-4CBD-9FCA-E03B0A1084DE}" dt="2025-11-28T12:32:58.470" v="6939"/>
          <ac:spMkLst>
            <pc:docMk/>
            <pc:sldMk cId="1461067543" sldId="3792"/>
            <ac:spMk id="209" creationId="{DFF7AF87-194D-9676-6BCC-9DD2CB0F4F2A}"/>
          </ac:spMkLst>
        </pc:spChg>
        <pc:spChg chg="add mod">
          <ac:chgData name="Ganninger, Christian" userId="f256076c-be75-4ba0-9fbc-fcb58856680c" providerId="ADAL" clId="{4E66BAEB-BF02-4CBD-9FCA-E03B0A1084DE}" dt="2025-11-28T12:30:17.583" v="6937" actId="14100"/>
          <ac:spMkLst>
            <pc:docMk/>
            <pc:sldMk cId="1461067543" sldId="3792"/>
            <ac:spMk id="215" creationId="{4BD2B326-DE3F-17BF-46AE-F8914368F5C1}"/>
          </ac:spMkLst>
        </pc:spChg>
        <pc:spChg chg="add mod">
          <ac:chgData name="Ganninger, Christian" userId="f256076c-be75-4ba0-9fbc-fcb58856680c" providerId="ADAL" clId="{4E66BAEB-BF02-4CBD-9FCA-E03B0A1084DE}" dt="2025-11-28T12:30:04.957" v="6934" actId="14100"/>
          <ac:spMkLst>
            <pc:docMk/>
            <pc:sldMk cId="1461067543" sldId="3792"/>
            <ac:spMk id="216" creationId="{F82D05AF-C892-45F4-86C0-AFC1B79D8A00}"/>
          </ac:spMkLst>
        </pc:spChg>
        <pc:spChg chg="add mod">
          <ac:chgData name="Ganninger, Christian" userId="f256076c-be75-4ba0-9fbc-fcb58856680c" providerId="ADAL" clId="{4E66BAEB-BF02-4CBD-9FCA-E03B0A1084DE}" dt="2025-11-28T12:32:58.470" v="6939"/>
          <ac:spMkLst>
            <pc:docMk/>
            <pc:sldMk cId="1461067543" sldId="3792"/>
            <ac:spMk id="223" creationId="{E6AF33C6-38CE-AAD0-7E27-A6E4C1753778}"/>
          </ac:spMkLst>
        </pc:spChg>
        <pc:spChg chg="mod">
          <ac:chgData name="Ganninger, Christian" userId="f256076c-be75-4ba0-9fbc-fcb58856680c" providerId="ADAL" clId="{4E66BAEB-BF02-4CBD-9FCA-E03B0A1084DE}" dt="2025-11-28T12:33:03.915" v="6940"/>
          <ac:spMkLst>
            <pc:docMk/>
            <pc:sldMk cId="1461067543" sldId="3792"/>
            <ac:spMk id="226" creationId="{9A5C5E07-971C-ED7E-E020-9EAC66E6F069}"/>
          </ac:spMkLst>
        </pc:spChg>
        <pc:spChg chg="mod">
          <ac:chgData name="Ganninger, Christian" userId="f256076c-be75-4ba0-9fbc-fcb58856680c" providerId="ADAL" clId="{4E66BAEB-BF02-4CBD-9FCA-E03B0A1084DE}" dt="2025-11-28T12:33:03.915" v="6940"/>
          <ac:spMkLst>
            <pc:docMk/>
            <pc:sldMk cId="1461067543" sldId="3792"/>
            <ac:spMk id="227" creationId="{6F75CA43-F9FC-536D-491C-86C54F1995A0}"/>
          </ac:spMkLst>
        </pc:spChg>
        <pc:spChg chg="mod">
          <ac:chgData name="Ganninger, Christian" userId="f256076c-be75-4ba0-9fbc-fcb58856680c" providerId="ADAL" clId="{4E66BAEB-BF02-4CBD-9FCA-E03B0A1084DE}" dt="2025-11-28T12:33:03.915" v="6940"/>
          <ac:spMkLst>
            <pc:docMk/>
            <pc:sldMk cId="1461067543" sldId="3792"/>
            <ac:spMk id="228" creationId="{BB9A711E-E26D-C343-2CC9-96034CCFE286}"/>
          </ac:spMkLst>
        </pc:spChg>
        <pc:spChg chg="mod">
          <ac:chgData name="Ganninger, Christian" userId="f256076c-be75-4ba0-9fbc-fcb58856680c" providerId="ADAL" clId="{4E66BAEB-BF02-4CBD-9FCA-E03B0A1084DE}" dt="2025-11-28T12:33:22.523" v="6944" actId="20577"/>
          <ac:spMkLst>
            <pc:docMk/>
            <pc:sldMk cId="1461067543" sldId="3792"/>
            <ac:spMk id="229" creationId="{D6C2CB46-20D1-52EC-FAB7-E6826E6C0725}"/>
          </ac:spMkLst>
        </pc:spChg>
        <pc:spChg chg="mod">
          <ac:chgData name="Ganninger, Christian" userId="f256076c-be75-4ba0-9fbc-fcb58856680c" providerId="ADAL" clId="{4E66BAEB-BF02-4CBD-9FCA-E03B0A1084DE}" dt="2025-11-28T12:33:03.915" v="6940"/>
          <ac:spMkLst>
            <pc:docMk/>
            <pc:sldMk cId="1461067543" sldId="3792"/>
            <ac:spMk id="230" creationId="{91DC0AD0-8B3E-1555-D858-6D37E6B26916}"/>
          </ac:spMkLst>
        </pc:spChg>
        <pc:spChg chg="mod">
          <ac:chgData name="Ganninger, Christian" userId="f256076c-be75-4ba0-9fbc-fcb58856680c" providerId="ADAL" clId="{4E66BAEB-BF02-4CBD-9FCA-E03B0A1084DE}" dt="2025-11-28T12:33:03.915" v="6940"/>
          <ac:spMkLst>
            <pc:docMk/>
            <pc:sldMk cId="1461067543" sldId="3792"/>
            <ac:spMk id="231" creationId="{7097DE6B-CD8D-0F7F-B84E-C8EAC9BFF999}"/>
          </ac:spMkLst>
        </pc:spChg>
        <pc:spChg chg="mod">
          <ac:chgData name="Ganninger, Christian" userId="f256076c-be75-4ba0-9fbc-fcb58856680c" providerId="ADAL" clId="{4E66BAEB-BF02-4CBD-9FCA-E03B0A1084DE}" dt="2025-11-28T12:33:03.915" v="6940"/>
          <ac:spMkLst>
            <pc:docMk/>
            <pc:sldMk cId="1461067543" sldId="3792"/>
            <ac:spMk id="232" creationId="{08238BA6-C046-0316-3825-2E9CE015FEBE}"/>
          </ac:spMkLst>
        </pc:spChg>
        <pc:grpChg chg="add mod">
          <ac:chgData name="Ganninger, Christian" userId="f256076c-be75-4ba0-9fbc-fcb58856680c" providerId="ADAL" clId="{4E66BAEB-BF02-4CBD-9FCA-E03B0A1084DE}" dt="2025-11-28T12:33:13.805" v="6942" actId="1076"/>
          <ac:grpSpMkLst>
            <pc:docMk/>
            <pc:sldMk cId="1461067543" sldId="3792"/>
            <ac:grpSpMk id="224" creationId="{B7F29A93-AB21-E18B-55F9-905C43A7FBC4}"/>
          </ac:grpSpMkLst>
        </pc:grpChg>
        <pc:grpChg chg="mod">
          <ac:chgData name="Ganninger, Christian" userId="f256076c-be75-4ba0-9fbc-fcb58856680c" providerId="ADAL" clId="{4E66BAEB-BF02-4CBD-9FCA-E03B0A1084DE}" dt="2025-11-28T12:33:03.915" v="6940"/>
          <ac:grpSpMkLst>
            <pc:docMk/>
            <pc:sldMk cId="1461067543" sldId="3792"/>
            <ac:grpSpMk id="225" creationId="{E40A33FE-C259-BE89-C62F-7EA6D9962105}"/>
          </ac:grpSpMkLst>
        </pc:grpChg>
        <pc:picChg chg="add mod">
          <ac:chgData name="Ganninger, Christian" userId="f256076c-be75-4ba0-9fbc-fcb58856680c" providerId="ADAL" clId="{4E66BAEB-BF02-4CBD-9FCA-E03B0A1084DE}" dt="2025-11-28T12:28:44.205" v="6897" actId="1076"/>
          <ac:picMkLst>
            <pc:docMk/>
            <pc:sldMk cId="1461067543" sldId="3792"/>
            <ac:picMk id="80" creationId="{EBEF8D23-2B41-BF7B-EC02-40CEF92E03ED}"/>
          </ac:picMkLst>
        </pc:picChg>
        <pc:picChg chg="add mod">
          <ac:chgData name="Ganninger, Christian" userId="f256076c-be75-4ba0-9fbc-fcb58856680c" providerId="ADAL" clId="{4E66BAEB-BF02-4CBD-9FCA-E03B0A1084DE}" dt="2025-11-26T15:32:56.847" v="4486" actId="14100"/>
          <ac:picMkLst>
            <pc:docMk/>
            <pc:sldMk cId="1461067543" sldId="3792"/>
            <ac:picMk id="116" creationId="{9AFCB00B-DEC8-AEFA-24FA-5912AEE59FB3}"/>
          </ac:picMkLst>
        </pc:picChg>
        <pc:picChg chg="add del mod">
          <ac:chgData name="Ganninger, Christian" userId="f256076c-be75-4ba0-9fbc-fcb58856680c" providerId="ADAL" clId="{4E66BAEB-BF02-4CBD-9FCA-E03B0A1084DE}" dt="2025-11-28T12:25:02.442" v="6884" actId="478"/>
          <ac:picMkLst>
            <pc:docMk/>
            <pc:sldMk cId="1461067543" sldId="3792"/>
            <ac:picMk id="214" creationId="{F27A484B-4DBD-0186-998F-E99738822DFE}"/>
          </ac:picMkLst>
        </pc:picChg>
      </pc:sldChg>
      <pc:sldChg chg="addSp delSp modSp add mod">
        <pc:chgData name="Ganninger, Christian" userId="f256076c-be75-4ba0-9fbc-fcb58856680c" providerId="ADAL" clId="{4E66BAEB-BF02-4CBD-9FCA-E03B0A1084DE}" dt="2025-11-28T12:20:58.326" v="6883" actId="6549"/>
        <pc:sldMkLst>
          <pc:docMk/>
          <pc:sldMk cId="2949372527" sldId="3793"/>
        </pc:sldMkLst>
        <pc:spChg chg="mod">
          <ac:chgData name="Ganninger, Christian" userId="f256076c-be75-4ba0-9fbc-fcb58856680c" providerId="ADAL" clId="{4E66BAEB-BF02-4CBD-9FCA-E03B0A1084DE}" dt="2025-11-26T14:39:30.772" v="3684" actId="20577"/>
          <ac:spMkLst>
            <pc:docMk/>
            <pc:sldMk cId="2949372527" sldId="3793"/>
            <ac:spMk id="4" creationId="{BBB30CCD-C111-F902-AFF1-91951079160D}"/>
          </ac:spMkLst>
        </pc:spChg>
        <pc:spChg chg="add mod">
          <ac:chgData name="Ganninger, Christian" userId="f256076c-be75-4ba0-9fbc-fcb58856680c" providerId="ADAL" clId="{4E66BAEB-BF02-4CBD-9FCA-E03B0A1084DE}" dt="2025-11-26T14:42:14.550" v="3720" actId="164"/>
          <ac:spMkLst>
            <pc:docMk/>
            <pc:sldMk cId="2949372527" sldId="3793"/>
            <ac:spMk id="7" creationId="{BB7D890D-5DF4-4056-834B-8105BC2DE130}"/>
          </ac:spMkLst>
        </pc:spChg>
        <pc:spChg chg="mod">
          <ac:chgData name="Ganninger, Christian" userId="f256076c-be75-4ba0-9fbc-fcb58856680c" providerId="ADAL" clId="{4E66BAEB-BF02-4CBD-9FCA-E03B0A1084DE}" dt="2025-11-28T12:20:58.326" v="6883" actId="6549"/>
          <ac:spMkLst>
            <pc:docMk/>
            <pc:sldMk cId="2949372527" sldId="3793"/>
            <ac:spMk id="16" creationId="{9F68CA85-5E94-BD28-0E83-0625BF3AB41B}"/>
          </ac:spMkLst>
        </pc:spChg>
        <pc:spChg chg="add mod">
          <ac:chgData name="Ganninger, Christian" userId="f256076c-be75-4ba0-9fbc-fcb58856680c" providerId="ADAL" clId="{4E66BAEB-BF02-4CBD-9FCA-E03B0A1084DE}" dt="2025-11-26T15:02:11.325" v="4247" actId="1076"/>
          <ac:spMkLst>
            <pc:docMk/>
            <pc:sldMk cId="2949372527" sldId="3793"/>
            <ac:spMk id="167" creationId="{8951B766-7418-1333-E94F-B391E2F8AB7E}"/>
          </ac:spMkLst>
        </pc:spChg>
        <pc:spChg chg="add mod">
          <ac:chgData name="Ganninger, Christian" userId="f256076c-be75-4ba0-9fbc-fcb58856680c" providerId="ADAL" clId="{4E66BAEB-BF02-4CBD-9FCA-E03B0A1084DE}" dt="2025-11-26T15:02:16.026" v="4248" actId="1076"/>
          <ac:spMkLst>
            <pc:docMk/>
            <pc:sldMk cId="2949372527" sldId="3793"/>
            <ac:spMk id="168" creationId="{B0A6A323-BC43-F458-8762-A0A9B6747951}"/>
          </ac:spMkLst>
        </pc:spChg>
        <pc:grpChg chg="add mod">
          <ac:chgData name="Ganninger, Christian" userId="f256076c-be75-4ba0-9fbc-fcb58856680c" providerId="ADAL" clId="{4E66BAEB-BF02-4CBD-9FCA-E03B0A1084DE}" dt="2025-11-26T14:56:58.905" v="4195" actId="14100"/>
          <ac:grpSpMkLst>
            <pc:docMk/>
            <pc:sldMk cId="2949372527" sldId="3793"/>
            <ac:grpSpMk id="8" creationId="{D9F89EEE-A0C3-B319-34DC-AFFEE94F780D}"/>
          </ac:grpSpMkLst>
        </pc:grpChg>
        <pc:picChg chg="add mod modCrop">
          <ac:chgData name="Ganninger, Christian" userId="f256076c-be75-4ba0-9fbc-fcb58856680c" providerId="ADAL" clId="{4E66BAEB-BF02-4CBD-9FCA-E03B0A1084DE}" dt="2025-11-26T14:42:14.550" v="3720" actId="164"/>
          <ac:picMkLst>
            <pc:docMk/>
            <pc:sldMk cId="2949372527" sldId="3793"/>
            <ac:picMk id="6" creationId="{029CAD2C-2DBF-3782-2A6C-A31E125B4E44}"/>
          </ac:picMkLst>
        </pc:picChg>
        <pc:picChg chg="add mod">
          <ac:chgData name="Ganninger, Christian" userId="f256076c-be75-4ba0-9fbc-fcb58856680c" providerId="ADAL" clId="{4E66BAEB-BF02-4CBD-9FCA-E03B0A1084DE}" dt="2025-11-26T15:02:07.198" v="4246" actId="1076"/>
          <ac:picMkLst>
            <pc:docMk/>
            <pc:sldMk cId="2949372527" sldId="3793"/>
            <ac:picMk id="113" creationId="{02D118E6-0410-F59C-1396-28F036CF6C6A}"/>
          </ac:picMkLst>
        </pc:picChg>
        <pc:picChg chg="add mod">
          <ac:chgData name="Ganninger, Christian" userId="f256076c-be75-4ba0-9fbc-fcb58856680c" providerId="ADAL" clId="{4E66BAEB-BF02-4CBD-9FCA-E03B0A1084DE}" dt="2025-11-26T15:02:03.758" v="4245" actId="14100"/>
          <ac:picMkLst>
            <pc:docMk/>
            <pc:sldMk cId="2949372527" sldId="3793"/>
            <ac:picMk id="166" creationId="{4BA03ECB-89A4-642B-F3B6-D9F9E724BCBF}"/>
          </ac:picMkLst>
        </pc:picChg>
      </pc:sldChg>
      <pc:sldChg chg="addSp delSp modSp add mod">
        <pc:chgData name="Ganninger, Christian" userId="f256076c-be75-4ba0-9fbc-fcb58856680c" providerId="ADAL" clId="{4E66BAEB-BF02-4CBD-9FCA-E03B0A1084DE}" dt="2025-11-28T12:16:47.028" v="6825" actId="20577"/>
        <pc:sldMkLst>
          <pc:docMk/>
          <pc:sldMk cId="2208820643" sldId="3794"/>
        </pc:sldMkLst>
        <pc:spChg chg="mod">
          <ac:chgData name="Ganninger, Christian" userId="f256076c-be75-4ba0-9fbc-fcb58856680c" providerId="ADAL" clId="{4E66BAEB-BF02-4CBD-9FCA-E03B0A1084DE}" dt="2025-11-27T16:43:58.807" v="6707" actId="20577"/>
          <ac:spMkLst>
            <pc:docMk/>
            <pc:sldMk cId="2208820643" sldId="3794"/>
            <ac:spMk id="4" creationId="{61D1A1B5-0946-14A0-0E2F-BF0B11AF6ACA}"/>
          </ac:spMkLst>
        </pc:spChg>
        <pc:spChg chg="mod">
          <ac:chgData name="Ganninger, Christian" userId="f256076c-be75-4ba0-9fbc-fcb58856680c" providerId="ADAL" clId="{4E66BAEB-BF02-4CBD-9FCA-E03B0A1084DE}" dt="2025-11-26T14:09:19.790" v="3327" actId="1076"/>
          <ac:spMkLst>
            <pc:docMk/>
            <pc:sldMk cId="2208820643" sldId="3794"/>
            <ac:spMk id="9" creationId="{DD0A075D-7EC0-BE09-9E47-1DB4561BEB84}"/>
          </ac:spMkLst>
        </pc:spChg>
        <pc:spChg chg="mod">
          <ac:chgData name="Ganninger, Christian" userId="f256076c-be75-4ba0-9fbc-fcb58856680c" providerId="ADAL" clId="{4E66BAEB-BF02-4CBD-9FCA-E03B0A1084DE}" dt="2025-11-28T12:16:47.028" v="6825" actId="20577"/>
          <ac:spMkLst>
            <pc:docMk/>
            <pc:sldMk cId="2208820643" sldId="3794"/>
            <ac:spMk id="16" creationId="{D6E96F1A-B98D-D790-81F2-2AD05888D92C}"/>
          </ac:spMkLst>
        </pc:spChg>
        <pc:spChg chg="add mod">
          <ac:chgData name="Ganninger, Christian" userId="f256076c-be75-4ba0-9fbc-fcb58856680c" providerId="ADAL" clId="{4E66BAEB-BF02-4CBD-9FCA-E03B0A1084DE}" dt="2025-11-26T14:16:56.854" v="3430" actId="20577"/>
          <ac:spMkLst>
            <pc:docMk/>
            <pc:sldMk cId="2208820643" sldId="3794"/>
            <ac:spMk id="79" creationId="{C4CFFD41-2DB4-2EC5-08E6-264489F63F80}"/>
          </ac:spMkLst>
        </pc:spChg>
        <pc:picChg chg="add mod modCrop">
          <ac:chgData name="Ganninger, Christian" userId="f256076c-be75-4ba0-9fbc-fcb58856680c" providerId="ADAL" clId="{4E66BAEB-BF02-4CBD-9FCA-E03B0A1084DE}" dt="2025-11-26T14:37:38.280" v="3616" actId="14100"/>
          <ac:picMkLst>
            <pc:docMk/>
            <pc:sldMk cId="2208820643" sldId="3794"/>
            <ac:picMk id="2" creationId="{08948AEF-0AAD-645F-5328-5BD36A918C68}"/>
          </ac:picMkLst>
        </pc:picChg>
        <pc:picChg chg="mod">
          <ac:chgData name="Ganninger, Christian" userId="f256076c-be75-4ba0-9fbc-fcb58856680c" providerId="ADAL" clId="{4E66BAEB-BF02-4CBD-9FCA-E03B0A1084DE}" dt="2025-11-26T14:09:22.301" v="3328" actId="1076"/>
          <ac:picMkLst>
            <pc:docMk/>
            <pc:sldMk cId="2208820643" sldId="3794"/>
            <ac:picMk id="72" creationId="{CB319E8F-7F40-ACD5-0D7B-45372CEEEC07}"/>
          </ac:picMkLst>
        </pc:picChg>
        <pc:picChg chg="add mod">
          <ac:chgData name="Ganninger, Christian" userId="f256076c-be75-4ba0-9fbc-fcb58856680c" providerId="ADAL" clId="{4E66BAEB-BF02-4CBD-9FCA-E03B0A1084DE}" dt="2025-11-26T14:35:43.373" v="3443" actId="1036"/>
          <ac:picMkLst>
            <pc:docMk/>
            <pc:sldMk cId="2208820643" sldId="3794"/>
            <ac:picMk id="155" creationId="{185AAFC9-9347-6286-E4D0-FF0942EA8FDF}"/>
          </ac:picMkLst>
        </pc:picChg>
      </pc:sldChg>
      <pc:sldChg chg="add del ord">
        <pc:chgData name="Ganninger, Christian" userId="f256076c-be75-4ba0-9fbc-fcb58856680c" providerId="ADAL" clId="{4E66BAEB-BF02-4CBD-9FCA-E03B0A1084DE}" dt="2025-11-27T09:24:47.363" v="4864" actId="47"/>
        <pc:sldMkLst>
          <pc:docMk/>
          <pc:sldMk cId="981782239" sldId="3795"/>
        </pc:sldMkLst>
      </pc:sldChg>
      <pc:sldChg chg="addSp delSp modSp add mod">
        <pc:chgData name="Ganninger, Christian" userId="f256076c-be75-4ba0-9fbc-fcb58856680c" providerId="ADAL" clId="{4E66BAEB-BF02-4CBD-9FCA-E03B0A1084DE}" dt="2025-11-28T13:52:20.992" v="6955" actId="20577"/>
        <pc:sldMkLst>
          <pc:docMk/>
          <pc:sldMk cId="2150327583" sldId="3796"/>
        </pc:sldMkLst>
        <pc:spChg chg="mod">
          <ac:chgData name="Ganninger, Christian" userId="f256076c-be75-4ba0-9fbc-fcb58856680c" providerId="ADAL" clId="{4E66BAEB-BF02-4CBD-9FCA-E03B0A1084DE}" dt="2025-11-27T16:08:50.271" v="6508" actId="20577"/>
          <ac:spMkLst>
            <pc:docMk/>
            <pc:sldMk cId="2150327583" sldId="3796"/>
            <ac:spMk id="5" creationId="{798D5FED-47F8-1A9C-3371-769677E9AB86}"/>
          </ac:spMkLst>
        </pc:spChg>
        <pc:spChg chg="mod">
          <ac:chgData name="Ganninger, Christian" userId="f256076c-be75-4ba0-9fbc-fcb58856680c" providerId="ADAL" clId="{4E66BAEB-BF02-4CBD-9FCA-E03B0A1084DE}" dt="2025-11-26T15:41:30.368" v="4669" actId="20577"/>
          <ac:spMkLst>
            <pc:docMk/>
            <pc:sldMk cId="2150327583" sldId="3796"/>
            <ac:spMk id="6" creationId="{A296A270-D0CD-9D4C-617E-E7FCCE9D36AD}"/>
          </ac:spMkLst>
        </pc:spChg>
        <pc:spChg chg="mod">
          <ac:chgData name="Ganninger, Christian" userId="f256076c-be75-4ba0-9fbc-fcb58856680c" providerId="ADAL" clId="{4E66BAEB-BF02-4CBD-9FCA-E03B0A1084DE}" dt="2025-11-27T07:09:21.944" v="4753" actId="1036"/>
          <ac:spMkLst>
            <pc:docMk/>
            <pc:sldMk cId="2150327583" sldId="3796"/>
            <ac:spMk id="7" creationId="{E5966DFC-B1BA-1148-65FE-2FB28A42ACCE}"/>
          </ac:spMkLst>
        </pc:spChg>
        <pc:spChg chg="mod">
          <ac:chgData name="Ganninger, Christian" userId="f256076c-be75-4ba0-9fbc-fcb58856680c" providerId="ADAL" clId="{4E66BAEB-BF02-4CBD-9FCA-E03B0A1084DE}" dt="2025-11-27T07:34:51.594" v="4763" actId="14100"/>
          <ac:spMkLst>
            <pc:docMk/>
            <pc:sldMk cId="2150327583" sldId="3796"/>
            <ac:spMk id="8" creationId="{75AA6E26-0E7E-49E7-7454-23CF9D6B1B73}"/>
          </ac:spMkLst>
        </pc:spChg>
        <pc:spChg chg="mod">
          <ac:chgData name="Ganninger, Christian" userId="f256076c-be75-4ba0-9fbc-fcb58856680c" providerId="ADAL" clId="{4E66BAEB-BF02-4CBD-9FCA-E03B0A1084DE}" dt="2025-11-27T07:34:41.995" v="4761" actId="14100"/>
          <ac:spMkLst>
            <pc:docMk/>
            <pc:sldMk cId="2150327583" sldId="3796"/>
            <ac:spMk id="9" creationId="{A4957476-42E4-C100-AF2A-1D333C230E66}"/>
          </ac:spMkLst>
        </pc:spChg>
        <pc:spChg chg="del mod">
          <ac:chgData name="Ganninger, Christian" userId="f256076c-be75-4ba0-9fbc-fcb58856680c" providerId="ADAL" clId="{4E66BAEB-BF02-4CBD-9FCA-E03B0A1084DE}" dt="2025-11-27T07:34:33.307" v="4759" actId="478"/>
          <ac:spMkLst>
            <pc:docMk/>
            <pc:sldMk cId="2150327583" sldId="3796"/>
            <ac:spMk id="10" creationId="{68C1A4B9-2F61-2586-DCBE-0EFABD19DADF}"/>
          </ac:spMkLst>
        </pc:spChg>
        <pc:spChg chg="del mod">
          <ac:chgData name="Ganninger, Christian" userId="f256076c-be75-4ba0-9fbc-fcb58856680c" providerId="ADAL" clId="{4E66BAEB-BF02-4CBD-9FCA-E03B0A1084DE}" dt="2025-11-27T07:09:37.975" v="4754" actId="478"/>
          <ac:spMkLst>
            <pc:docMk/>
            <pc:sldMk cId="2150327583" sldId="3796"/>
            <ac:spMk id="11" creationId="{68D78A98-27B3-2BE1-1BD8-AC18F8069391}"/>
          </ac:spMkLst>
        </pc:spChg>
        <pc:spChg chg="del mod">
          <ac:chgData name="Ganninger, Christian" userId="f256076c-be75-4ba0-9fbc-fcb58856680c" providerId="ADAL" clId="{4E66BAEB-BF02-4CBD-9FCA-E03B0A1084DE}" dt="2025-11-27T07:34:36.748" v="4760" actId="478"/>
          <ac:spMkLst>
            <pc:docMk/>
            <pc:sldMk cId="2150327583" sldId="3796"/>
            <ac:spMk id="12" creationId="{F5157CB6-FAAD-1D03-F696-4203BEFD14FB}"/>
          </ac:spMkLst>
        </pc:spChg>
        <pc:spChg chg="del mod">
          <ac:chgData name="Ganninger, Christian" userId="f256076c-be75-4ba0-9fbc-fcb58856680c" providerId="ADAL" clId="{4E66BAEB-BF02-4CBD-9FCA-E03B0A1084DE}" dt="2025-11-27T07:34:28.699" v="4756" actId="478"/>
          <ac:spMkLst>
            <pc:docMk/>
            <pc:sldMk cId="2150327583" sldId="3796"/>
            <ac:spMk id="13" creationId="{BCBE3581-EE31-0AD6-E21F-9494B4D5B811}"/>
          </ac:spMkLst>
        </pc:spChg>
        <pc:spChg chg="add mod">
          <ac:chgData name="Ganninger, Christian" userId="f256076c-be75-4ba0-9fbc-fcb58856680c" providerId="ADAL" clId="{4E66BAEB-BF02-4CBD-9FCA-E03B0A1084DE}" dt="2025-11-27T07:36:00.415" v="4780" actId="164"/>
          <ac:spMkLst>
            <pc:docMk/>
            <pc:sldMk cId="2150327583" sldId="3796"/>
            <ac:spMk id="14" creationId="{19B7C6DE-FEDF-43D3-38F3-3F0C1AEA1D53}"/>
          </ac:spMkLst>
        </pc:spChg>
        <pc:spChg chg="add mod">
          <ac:chgData name="Ganninger, Christian" userId="f256076c-be75-4ba0-9fbc-fcb58856680c" providerId="ADAL" clId="{4E66BAEB-BF02-4CBD-9FCA-E03B0A1084DE}" dt="2025-11-27T07:36:00.415" v="4780" actId="164"/>
          <ac:spMkLst>
            <pc:docMk/>
            <pc:sldMk cId="2150327583" sldId="3796"/>
            <ac:spMk id="15" creationId="{D5637E07-BAA7-6BD6-3509-6E026D91FE91}"/>
          </ac:spMkLst>
        </pc:spChg>
        <pc:spChg chg="add mod">
          <ac:chgData name="Ganninger, Christian" userId="f256076c-be75-4ba0-9fbc-fcb58856680c" providerId="ADAL" clId="{4E66BAEB-BF02-4CBD-9FCA-E03B0A1084DE}" dt="2025-11-27T07:36:00.415" v="4780" actId="164"/>
          <ac:spMkLst>
            <pc:docMk/>
            <pc:sldMk cId="2150327583" sldId="3796"/>
            <ac:spMk id="16" creationId="{2BDAAA9B-1C4C-2629-A961-7C898B798DE6}"/>
          </ac:spMkLst>
        </pc:spChg>
        <pc:spChg chg="mod">
          <ac:chgData name="Ganninger, Christian" userId="f256076c-be75-4ba0-9fbc-fcb58856680c" providerId="ADAL" clId="{4E66BAEB-BF02-4CBD-9FCA-E03B0A1084DE}" dt="2025-11-26T15:46:28.470" v="4700" actId="6549"/>
          <ac:spMkLst>
            <pc:docMk/>
            <pc:sldMk cId="2150327583" sldId="3796"/>
            <ac:spMk id="215" creationId="{D491074D-4156-91A0-4CE9-85E3271DC3DE}"/>
          </ac:spMkLst>
        </pc:spChg>
        <pc:spChg chg="mod">
          <ac:chgData name="Ganninger, Christian" userId="f256076c-be75-4ba0-9fbc-fcb58856680c" providerId="ADAL" clId="{4E66BAEB-BF02-4CBD-9FCA-E03B0A1084DE}" dt="2025-11-28T13:52:20.992" v="6955" actId="20577"/>
          <ac:spMkLst>
            <pc:docMk/>
            <pc:sldMk cId="2150327583" sldId="3796"/>
            <ac:spMk id="216" creationId="{65426E4D-9746-9080-213E-079C50DA0BFB}"/>
          </ac:spMkLst>
        </pc:spChg>
        <pc:grpChg chg="add del mod">
          <ac:chgData name="Ganninger, Christian" userId="f256076c-be75-4ba0-9fbc-fcb58856680c" providerId="ADAL" clId="{4E66BAEB-BF02-4CBD-9FCA-E03B0A1084DE}" dt="2025-11-27T07:36:00.415" v="4780" actId="164"/>
          <ac:grpSpMkLst>
            <pc:docMk/>
            <pc:sldMk cId="2150327583" sldId="3796"/>
            <ac:grpSpMk id="2" creationId="{FDEB64F4-655C-AF69-B147-35D66EED6A7D}"/>
          </ac:grpSpMkLst>
        </pc:grpChg>
        <pc:grpChg chg="add mod">
          <ac:chgData name="Ganninger, Christian" userId="f256076c-be75-4ba0-9fbc-fcb58856680c" providerId="ADAL" clId="{4E66BAEB-BF02-4CBD-9FCA-E03B0A1084DE}" dt="2025-11-27T07:36:08.060" v="4781" actId="1076"/>
          <ac:grpSpMkLst>
            <pc:docMk/>
            <pc:sldMk cId="2150327583" sldId="3796"/>
            <ac:grpSpMk id="17" creationId="{CE286244-CCF1-1F4E-1C2D-A2763D975F6E}"/>
          </ac:grpSpMkLst>
        </pc:grpChg>
        <pc:picChg chg="add mod">
          <ac:chgData name="Ganninger, Christian" userId="f256076c-be75-4ba0-9fbc-fcb58856680c" providerId="ADAL" clId="{4E66BAEB-BF02-4CBD-9FCA-E03B0A1084DE}" dt="2025-11-26T15:41:06.111" v="4663" actId="1076"/>
          <ac:picMkLst>
            <pc:docMk/>
            <pc:sldMk cId="2150327583" sldId="3796"/>
            <ac:picMk id="65" creationId="{000D50B3-4632-C839-A623-2F12FC6CF8B6}"/>
          </ac:picMkLst>
        </pc:picChg>
        <pc:picChg chg="add mod">
          <ac:chgData name="Ganninger, Christian" userId="f256076c-be75-4ba0-9fbc-fcb58856680c" providerId="ADAL" clId="{4E66BAEB-BF02-4CBD-9FCA-E03B0A1084DE}" dt="2025-11-26T15:55:47.368" v="4720" actId="1038"/>
          <ac:picMkLst>
            <pc:docMk/>
            <pc:sldMk cId="2150327583" sldId="3796"/>
            <ac:picMk id="73" creationId="{DFBA5E58-8A4D-5976-EF15-B642625C37FF}"/>
          </ac:picMkLst>
        </pc:picChg>
      </pc:sldChg>
      <pc:sldChg chg="add del">
        <pc:chgData name="Ganninger, Christian" userId="f256076c-be75-4ba0-9fbc-fcb58856680c" providerId="ADAL" clId="{4E66BAEB-BF02-4CBD-9FCA-E03B0A1084DE}" dt="2025-11-28T13:52:43.448" v="6956" actId="47"/>
        <pc:sldMkLst>
          <pc:docMk/>
          <pc:sldMk cId="3942189176" sldId="3797"/>
        </pc:sldMkLst>
      </pc:sldChg>
      <pc:sldChg chg="addSp delSp modSp add mod">
        <pc:chgData name="Ganninger, Christian" userId="f256076c-be75-4ba0-9fbc-fcb58856680c" providerId="ADAL" clId="{4E66BAEB-BF02-4CBD-9FCA-E03B0A1084DE}" dt="2025-11-28T14:01:58.111" v="7109" actId="478"/>
        <pc:sldMkLst>
          <pc:docMk/>
          <pc:sldMk cId="1483177640" sldId="3798"/>
        </pc:sldMkLst>
        <pc:spChg chg="del mod">
          <ac:chgData name="Ganninger, Christian" userId="f256076c-be75-4ba0-9fbc-fcb58856680c" providerId="ADAL" clId="{4E66BAEB-BF02-4CBD-9FCA-E03B0A1084DE}" dt="2025-11-28T14:01:58.111" v="7109" actId="478"/>
          <ac:spMkLst>
            <pc:docMk/>
            <pc:sldMk cId="1483177640" sldId="3798"/>
            <ac:spMk id="4" creationId="{CD0D7FA1-F9FF-0A7A-7E9C-DA740F3937FA}"/>
          </ac:spMkLst>
        </pc:spChg>
        <pc:spChg chg="mod">
          <ac:chgData name="Ganninger, Christian" userId="f256076c-be75-4ba0-9fbc-fcb58856680c" providerId="ADAL" clId="{4E66BAEB-BF02-4CBD-9FCA-E03B0A1084DE}" dt="2025-11-28T14:01:01.659" v="7102" actId="14100"/>
          <ac:spMkLst>
            <pc:docMk/>
            <pc:sldMk cId="1483177640" sldId="3798"/>
            <ac:spMk id="5" creationId="{B5E80E31-8AC4-4F4E-303A-81C4F0A6C5F0}"/>
          </ac:spMkLst>
        </pc:spChg>
        <pc:spChg chg="del">
          <ac:chgData name="Ganninger, Christian" userId="f256076c-be75-4ba0-9fbc-fcb58856680c" providerId="ADAL" clId="{4E66BAEB-BF02-4CBD-9FCA-E03B0A1084DE}" dt="2025-11-27T14:06:57.704" v="6090" actId="478"/>
          <ac:spMkLst>
            <pc:docMk/>
            <pc:sldMk cId="1483177640" sldId="3798"/>
            <ac:spMk id="9" creationId="{14CEEA30-1BDD-EE80-EFFA-F4C471095065}"/>
          </ac:spMkLst>
        </pc:spChg>
        <pc:spChg chg="add del mod">
          <ac:chgData name="Ganninger, Christian" userId="f256076c-be75-4ba0-9fbc-fcb58856680c" providerId="ADAL" clId="{4E66BAEB-BF02-4CBD-9FCA-E03B0A1084DE}" dt="2025-11-27T14:27:44.101" v="6470" actId="478"/>
          <ac:spMkLst>
            <pc:docMk/>
            <pc:sldMk cId="1483177640" sldId="3798"/>
            <ac:spMk id="10" creationId="{8F03FF50-17AF-2E65-B3AE-E372B1592CC6}"/>
          </ac:spMkLst>
        </pc:spChg>
        <pc:spChg chg="add mod">
          <ac:chgData name="Ganninger, Christian" userId="f256076c-be75-4ba0-9fbc-fcb58856680c" providerId="ADAL" clId="{4E66BAEB-BF02-4CBD-9FCA-E03B0A1084DE}" dt="2025-11-28T14:01:11.316" v="7103" actId="1076"/>
          <ac:spMkLst>
            <pc:docMk/>
            <pc:sldMk cId="1483177640" sldId="3798"/>
            <ac:spMk id="12" creationId="{C6311A40-2D9E-D6CC-4282-87ABF085B879}"/>
          </ac:spMkLst>
        </pc:spChg>
        <pc:spChg chg="add mod">
          <ac:chgData name="Ganninger, Christian" userId="f256076c-be75-4ba0-9fbc-fcb58856680c" providerId="ADAL" clId="{4E66BAEB-BF02-4CBD-9FCA-E03B0A1084DE}" dt="2025-11-28T14:01:13.558" v="7104" actId="1076"/>
          <ac:spMkLst>
            <pc:docMk/>
            <pc:sldMk cId="1483177640" sldId="3798"/>
            <ac:spMk id="14" creationId="{074DC6DA-55B8-CAFA-5366-043DB902A09F}"/>
          </ac:spMkLst>
        </pc:spChg>
        <pc:spChg chg="add mod">
          <ac:chgData name="Ganninger, Christian" userId="f256076c-be75-4ba0-9fbc-fcb58856680c" providerId="ADAL" clId="{4E66BAEB-BF02-4CBD-9FCA-E03B0A1084DE}" dt="2025-11-28T14:01:20.667" v="7106" actId="1076"/>
          <ac:spMkLst>
            <pc:docMk/>
            <pc:sldMk cId="1483177640" sldId="3798"/>
            <ac:spMk id="16" creationId="{3DE2CB4A-BA7C-62DE-E8B2-B274FA534D2C}"/>
          </ac:spMkLst>
        </pc:spChg>
        <pc:spChg chg="add mod">
          <ac:chgData name="Ganninger, Christian" userId="f256076c-be75-4ba0-9fbc-fcb58856680c" providerId="ADAL" clId="{4E66BAEB-BF02-4CBD-9FCA-E03B0A1084DE}" dt="2025-11-28T14:01:11.316" v="7103" actId="1076"/>
          <ac:spMkLst>
            <pc:docMk/>
            <pc:sldMk cId="1483177640" sldId="3798"/>
            <ac:spMk id="18" creationId="{20329608-BCD2-04EC-5FCC-9CE3CA86E631}"/>
          </ac:spMkLst>
        </pc:spChg>
        <pc:spChg chg="add mod">
          <ac:chgData name="Ganninger, Christian" userId="f256076c-be75-4ba0-9fbc-fcb58856680c" providerId="ADAL" clId="{4E66BAEB-BF02-4CBD-9FCA-E03B0A1084DE}" dt="2025-11-28T14:01:22.973" v="7107" actId="1076"/>
          <ac:spMkLst>
            <pc:docMk/>
            <pc:sldMk cId="1483177640" sldId="3798"/>
            <ac:spMk id="20" creationId="{B90244DA-E3DB-F19C-1B0B-61C99E1E86EA}"/>
          </ac:spMkLst>
        </pc:spChg>
        <pc:spChg chg="add del">
          <ac:chgData name="Ganninger, Christian" userId="f256076c-be75-4ba0-9fbc-fcb58856680c" providerId="ADAL" clId="{4E66BAEB-BF02-4CBD-9FCA-E03B0A1084DE}" dt="2025-11-27T14:27:38.821" v="6467" actId="22"/>
          <ac:spMkLst>
            <pc:docMk/>
            <pc:sldMk cId="1483177640" sldId="3798"/>
            <ac:spMk id="22" creationId="{4399B4C5-BF2C-BB4A-C2E7-1C9BB516B0BE}"/>
          </ac:spMkLst>
        </pc:spChg>
        <pc:spChg chg="add mod">
          <ac:chgData name="Ganninger, Christian" userId="f256076c-be75-4ba0-9fbc-fcb58856680c" providerId="ADAL" clId="{4E66BAEB-BF02-4CBD-9FCA-E03B0A1084DE}" dt="2025-11-28T14:01:11.316" v="7103" actId="1076"/>
          <ac:spMkLst>
            <pc:docMk/>
            <pc:sldMk cId="1483177640" sldId="3798"/>
            <ac:spMk id="24" creationId="{53AA81E5-3BDE-4F95-4CB8-45F6AFA22BBB}"/>
          </ac:spMkLst>
        </pc:spChg>
        <pc:spChg chg="add mod">
          <ac:chgData name="Ganninger, Christian" userId="f256076c-be75-4ba0-9fbc-fcb58856680c" providerId="ADAL" clId="{4E66BAEB-BF02-4CBD-9FCA-E03B0A1084DE}" dt="2025-11-28T14:00:38.707" v="7093" actId="1076"/>
          <ac:spMkLst>
            <pc:docMk/>
            <pc:sldMk cId="1483177640" sldId="3798"/>
            <ac:spMk id="26" creationId="{5C57A753-EC6F-1B29-2913-C2BC62E3AEA7}"/>
          </ac:spMkLst>
        </pc:spChg>
        <pc:picChg chg="del">
          <ac:chgData name="Ganninger, Christian" userId="f256076c-be75-4ba0-9fbc-fcb58856680c" providerId="ADAL" clId="{4E66BAEB-BF02-4CBD-9FCA-E03B0A1084DE}" dt="2025-11-27T14:06:56.384" v="6089" actId="478"/>
          <ac:picMkLst>
            <pc:docMk/>
            <pc:sldMk cId="1483177640" sldId="3798"/>
            <ac:picMk id="6" creationId="{002E2D9C-0918-67AF-004E-A85FA1078D31}"/>
          </ac:picMkLst>
        </pc:picChg>
        <pc:picChg chg="del">
          <ac:chgData name="Ganninger, Christian" userId="f256076c-be75-4ba0-9fbc-fcb58856680c" providerId="ADAL" clId="{4E66BAEB-BF02-4CBD-9FCA-E03B0A1084DE}" dt="2025-11-27T14:06:48.161" v="6088" actId="478"/>
          <ac:picMkLst>
            <pc:docMk/>
            <pc:sldMk cId="1483177640" sldId="3798"/>
            <ac:picMk id="7" creationId="{3C868BFD-0CB9-90CB-8044-DC6B10E00134}"/>
          </ac:picMkLst>
        </pc:picChg>
        <pc:picChg chg="del">
          <ac:chgData name="Ganninger, Christian" userId="f256076c-be75-4ba0-9fbc-fcb58856680c" providerId="ADAL" clId="{4E66BAEB-BF02-4CBD-9FCA-E03B0A1084DE}" dt="2025-11-27T14:06:47.407" v="6087" actId="478"/>
          <ac:picMkLst>
            <pc:docMk/>
            <pc:sldMk cId="1483177640" sldId="3798"/>
            <ac:picMk id="8" creationId="{63916C9D-D455-BA3B-90C8-923A210B008B}"/>
          </ac:picMkLst>
        </pc:picChg>
      </pc:sldChg>
      <pc:sldChg chg="addSp delSp modSp new mod">
        <pc:chgData name="Ganninger, Christian" userId="f256076c-be75-4ba0-9fbc-fcb58856680c" providerId="ADAL" clId="{4E66BAEB-BF02-4CBD-9FCA-E03B0A1084DE}" dt="2025-11-27T14:24:04.385" v="6455" actId="1076"/>
        <pc:sldMkLst>
          <pc:docMk/>
          <pc:sldMk cId="50953339" sldId="3799"/>
        </pc:sldMkLst>
        <pc:spChg chg="del">
          <ac:chgData name="Ganninger, Christian" userId="f256076c-be75-4ba0-9fbc-fcb58856680c" providerId="ADAL" clId="{4E66BAEB-BF02-4CBD-9FCA-E03B0A1084DE}" dt="2025-11-27T14:14:58.501" v="6171" actId="22"/>
          <ac:spMkLst>
            <pc:docMk/>
            <pc:sldMk cId="50953339" sldId="3799"/>
            <ac:spMk id="2" creationId="{C33E9A20-F96C-913C-E971-FBBE2BFB4C8C}"/>
          </ac:spMkLst>
        </pc:spChg>
        <pc:spChg chg="mod">
          <ac:chgData name="Ganninger, Christian" userId="f256076c-be75-4ba0-9fbc-fcb58856680c" providerId="ADAL" clId="{4E66BAEB-BF02-4CBD-9FCA-E03B0A1084DE}" dt="2025-11-27T14:06:35.824" v="6086" actId="20577"/>
          <ac:spMkLst>
            <pc:docMk/>
            <pc:sldMk cId="50953339" sldId="3799"/>
            <ac:spMk id="4" creationId="{99AFCA04-B2FD-8DF2-F479-E0784D4F3895}"/>
          </ac:spMkLst>
        </pc:spChg>
        <pc:spChg chg="add mod">
          <ac:chgData name="Ganninger, Christian" userId="f256076c-be75-4ba0-9fbc-fcb58856680c" providerId="ADAL" clId="{4E66BAEB-BF02-4CBD-9FCA-E03B0A1084DE}" dt="2025-11-27T14:18:53.137" v="6425" actId="20577"/>
          <ac:spMkLst>
            <pc:docMk/>
            <pc:sldMk cId="50953339" sldId="3799"/>
            <ac:spMk id="7" creationId="{66354977-06B2-EFF1-E3AF-099C59A4F556}"/>
          </ac:spMkLst>
        </pc:spChg>
        <pc:spChg chg="add mod">
          <ac:chgData name="Ganninger, Christian" userId="f256076c-be75-4ba0-9fbc-fcb58856680c" providerId="ADAL" clId="{4E66BAEB-BF02-4CBD-9FCA-E03B0A1084DE}" dt="2025-11-27T14:17:01.038" v="6326" actId="14"/>
          <ac:spMkLst>
            <pc:docMk/>
            <pc:sldMk cId="50953339" sldId="3799"/>
            <ac:spMk id="8" creationId="{084C5752-5E2E-6A34-7C5F-82E4FDD3B621}"/>
          </ac:spMkLst>
        </pc:spChg>
        <pc:spChg chg="add mod">
          <ac:chgData name="Ganninger, Christian" userId="f256076c-be75-4ba0-9fbc-fcb58856680c" providerId="ADAL" clId="{4E66BAEB-BF02-4CBD-9FCA-E03B0A1084DE}" dt="2025-11-27T14:18:32.984" v="6405" actId="20577"/>
          <ac:spMkLst>
            <pc:docMk/>
            <pc:sldMk cId="50953339" sldId="3799"/>
            <ac:spMk id="10" creationId="{C4137735-9480-B320-54BB-00DA6E558B02}"/>
          </ac:spMkLst>
        </pc:spChg>
        <pc:spChg chg="add">
          <ac:chgData name="Ganninger, Christian" userId="f256076c-be75-4ba0-9fbc-fcb58856680c" providerId="ADAL" clId="{4E66BAEB-BF02-4CBD-9FCA-E03B0A1084DE}" dt="2025-11-27T14:21:13.709" v="6439"/>
          <ac:spMkLst>
            <pc:docMk/>
            <pc:sldMk cId="50953339" sldId="3799"/>
            <ac:spMk id="13" creationId="{B872BF0F-9EF6-46F9-4486-BBC2631A16DC}"/>
          </ac:spMkLst>
        </pc:spChg>
        <pc:spChg chg="add">
          <ac:chgData name="Ganninger, Christian" userId="f256076c-be75-4ba0-9fbc-fcb58856680c" providerId="ADAL" clId="{4E66BAEB-BF02-4CBD-9FCA-E03B0A1084DE}" dt="2025-11-27T14:23:46.878" v="6447"/>
          <ac:spMkLst>
            <pc:docMk/>
            <pc:sldMk cId="50953339" sldId="3799"/>
            <ac:spMk id="15" creationId="{AAD2758E-DC33-F99A-D521-02D2D7E54FAF}"/>
          </ac:spMkLst>
        </pc:spChg>
        <pc:picChg chg="add mod ord">
          <ac:chgData name="Ganninger, Christian" userId="f256076c-be75-4ba0-9fbc-fcb58856680c" providerId="ADAL" clId="{4E66BAEB-BF02-4CBD-9FCA-E03B0A1084DE}" dt="2025-11-27T14:17:24.147" v="6333" actId="14100"/>
          <ac:picMkLst>
            <pc:docMk/>
            <pc:sldMk cId="50953339" sldId="3799"/>
            <ac:picMk id="6" creationId="{7CC0616F-F70A-0130-E38E-5364D7C32A6F}"/>
          </ac:picMkLst>
        </pc:picChg>
        <pc:picChg chg="add mod">
          <ac:chgData name="Ganninger, Christian" userId="f256076c-be75-4ba0-9fbc-fcb58856680c" providerId="ADAL" clId="{4E66BAEB-BF02-4CBD-9FCA-E03B0A1084DE}" dt="2025-11-27T14:17:46.106" v="6338" actId="1036"/>
          <ac:picMkLst>
            <pc:docMk/>
            <pc:sldMk cId="50953339" sldId="3799"/>
            <ac:picMk id="9" creationId="{6EBF9D24-BAD6-50AD-FF00-9C80C73C0CFD}"/>
          </ac:picMkLst>
        </pc:picChg>
        <pc:picChg chg="add mod">
          <ac:chgData name="Ganninger, Christian" userId="f256076c-be75-4ba0-9fbc-fcb58856680c" providerId="ADAL" clId="{4E66BAEB-BF02-4CBD-9FCA-E03B0A1084DE}" dt="2025-11-27T14:20:02.230" v="6438" actId="14100"/>
          <ac:picMkLst>
            <pc:docMk/>
            <pc:sldMk cId="50953339" sldId="3799"/>
            <ac:picMk id="11" creationId="{33FA15A9-A407-4572-5B69-37EAA9DB8090}"/>
          </ac:picMkLst>
        </pc:picChg>
        <pc:picChg chg="add mod">
          <ac:chgData name="Ganninger, Christian" userId="f256076c-be75-4ba0-9fbc-fcb58856680c" providerId="ADAL" clId="{4E66BAEB-BF02-4CBD-9FCA-E03B0A1084DE}" dt="2025-11-27T14:19:57.941" v="6437" actId="1076"/>
          <ac:picMkLst>
            <pc:docMk/>
            <pc:sldMk cId="50953339" sldId="3799"/>
            <ac:picMk id="12" creationId="{0E6D874F-78E0-7A37-D332-F67AC2A8530E}"/>
          </ac:picMkLst>
        </pc:picChg>
        <pc:picChg chg="add mod modCrop">
          <ac:chgData name="Ganninger, Christian" userId="f256076c-be75-4ba0-9fbc-fcb58856680c" providerId="ADAL" clId="{4E66BAEB-BF02-4CBD-9FCA-E03B0A1084DE}" dt="2025-11-27T14:24:03.250" v="6454" actId="1076"/>
          <ac:picMkLst>
            <pc:docMk/>
            <pc:sldMk cId="50953339" sldId="3799"/>
            <ac:picMk id="14" creationId="{8B7B3C98-08FE-3B5D-F556-801EF3544182}"/>
          </ac:picMkLst>
        </pc:picChg>
        <pc:picChg chg="add mod">
          <ac:chgData name="Ganninger, Christian" userId="f256076c-be75-4ba0-9fbc-fcb58856680c" providerId="ADAL" clId="{4E66BAEB-BF02-4CBD-9FCA-E03B0A1084DE}" dt="2025-11-27T14:24:04.385" v="6455" actId="1076"/>
          <ac:picMkLst>
            <pc:docMk/>
            <pc:sldMk cId="50953339" sldId="3799"/>
            <ac:picMk id="16" creationId="{8D9819C8-89C4-1BA2-0307-EB4297436F0E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r">
              <a:defRPr sz="1300"/>
            </a:lvl1pPr>
          </a:lstStyle>
          <a:p>
            <a:fld id="{5357B84E-E29E-4E9F-8EC4-F0FB55F2E732}" type="datetimeFigureOut">
              <a:rPr lang="en-GB" smtClean="0"/>
              <a:t>28/11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r">
              <a:defRPr sz="1300"/>
            </a:lvl1pPr>
          </a:lstStyle>
          <a:p>
            <a:fld id="{41C9DA03-DF80-4579-B771-6341D7A4BED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041494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8428" cy="513509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1"/>
            <a:ext cx="3078428" cy="513509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r">
              <a:defRPr sz="1300"/>
            </a:lvl1pPr>
          </a:lstStyle>
          <a:p>
            <a:fld id="{01B7E555-9380-714B-AEA7-F0DFB67531BD}" type="datetimeFigureOut">
              <a:t>11/2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4188" y="1279525"/>
            <a:ext cx="6135687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35" tIns="49218" rIns="98435" bIns="4921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8435" tIns="49218" rIns="98435" bIns="4921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8" cy="513507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8" cy="513507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r">
              <a:defRPr sz="1300"/>
            </a:lvl1pPr>
          </a:lstStyle>
          <a:p>
            <a:fld id="{7C0F37E3-D61C-4C4B-8AD2-D70E789ECEC8}" type="slidenum"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9030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0F37E3-D61C-4C4B-8AD2-D70E789ECEC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075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7.xml"/><Relationship Id="rId7" Type="http://schemas.openxmlformats.org/officeDocument/2006/relationships/image" Target="../media/image6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0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1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2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6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3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9.xml"/><Relationship Id="rId7" Type="http://schemas.openxmlformats.org/officeDocument/2006/relationships/image" Target="../media/image2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5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5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7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8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656B54-3ADF-449D-B61C-0E8A3E802AC8}"/>
              </a:ext>
            </a:extLst>
          </p:cNvPr>
          <p:cNvSpPr/>
          <p:nvPr userDrawn="1"/>
        </p:nvSpPr>
        <p:spPr>
          <a:xfrm>
            <a:off x="4234" y="-22110"/>
            <a:ext cx="12187766" cy="5272287"/>
          </a:xfrm>
          <a:prstGeom prst="rect">
            <a:avLst/>
          </a:prstGeom>
          <a:solidFill>
            <a:schemeClr val="accent5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7A713FE-72CC-49A1-B4C7-E0FEF00F99B7}"/>
              </a:ext>
            </a:extLst>
          </p:cNvPr>
          <p:cNvSpPr/>
          <p:nvPr userDrawn="1"/>
        </p:nvSpPr>
        <p:spPr>
          <a:xfrm>
            <a:off x="-5003" y="5341616"/>
            <a:ext cx="12197003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98710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5000" b="0" i="0" baseline="0">
              <a:latin typeface="Roboto Light"/>
              <a:sym typeface="Roboto Light"/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4000" b="0" i="0" baseline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5003" y="5250176"/>
            <a:ext cx="12197003" cy="91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D1C2624-DF71-4678-BC19-8D78D599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8650" y="2743200"/>
            <a:ext cx="6410558" cy="147922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C359125-1562-423F-A70A-9900E81B4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9241" y="685800"/>
            <a:ext cx="6410558" cy="1828800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100000"/>
              </a:lnSpc>
              <a:defRPr sz="4000" b="0" i="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4343400"/>
            <a:ext cx="3714750" cy="685800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Presenter</a:t>
            </a:r>
            <a:br>
              <a:rPr lang="en-US"/>
            </a:br>
            <a:r>
              <a:rPr lang="en-US" b="0"/>
              <a:t>Month xx, 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8203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9402" cy="68548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751509-5BC0-40F6-B7D0-C4A89C6ADA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504100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"/>
          <a:stretch/>
        </p:blipFill>
        <p:spPr>
          <a:xfrm>
            <a:off x="5562600" y="3176"/>
            <a:ext cx="6629402" cy="68548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267687-D0EC-41CA-996C-03C5C073BD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16519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599" y="0"/>
            <a:ext cx="6629401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C449D29-49B8-46B4-9DD4-36CA38923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427522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44FA1A8-69D6-44EB-8E26-2D57BE0B5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540462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 descr="A picture containing factory, person, building&#10;&#10;Description automatically generated">
            <a:extLst>
              <a:ext uri="{FF2B5EF4-FFF2-40B4-BE49-F238E27FC236}">
                <a16:creationId xmlns:a16="http://schemas.microsoft.com/office/drawing/2014/main" id="{C0BC02A9-281A-475E-BC56-505505E2B7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7698" y="-3561"/>
            <a:ext cx="6680502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788AA42-B49B-4DA0-BC2F-C3121A190C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742FDCD-F50C-453E-8FAF-0F2B656F6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3802168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"/>
          <a:stretch/>
        </p:blipFill>
        <p:spPr>
          <a:xfrm>
            <a:off x="5562600" y="3176"/>
            <a:ext cx="6629400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759332D-409D-466E-B93E-BA168CF8C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38842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35560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>
              <a:solidFill>
                <a:srgbClr val="EEEEEE"/>
              </a:solidFill>
              <a:latin typeface="Roboto Light"/>
              <a:sym typeface="Roboto Light"/>
            </a:endParaRPr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>
              <a:solidFill>
                <a:srgbClr val="EEEEEE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B517A81-BFFB-45D7-9344-B41D1BB981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438400"/>
            <a:ext cx="10972800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5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673243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012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6213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44840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5956917"/>
            <a:ext cx="11617960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1" y="6409678"/>
            <a:ext cx="2626359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sp>
        <p:nvSpPr>
          <p:cNvPr id="10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259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9457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39" y="5956917"/>
            <a:ext cx="11617961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34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011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8394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train pulling into a station&#10;&#10;Description automatically generated">
            <a:extLst>
              <a:ext uri="{FF2B5EF4-FFF2-40B4-BE49-F238E27FC236}">
                <a16:creationId xmlns:a16="http://schemas.microsoft.com/office/drawing/2014/main" id="{0F9D245B-50A5-4F55-B7FD-CD9F119E2B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7698" y="0"/>
            <a:ext cx="6626327" cy="686117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A2CBA38-23C3-42D7-9481-1BF3F89CD595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DE4B844-16E0-4313-B497-9312C6CCFF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960926CA-791C-45A0-A78A-3FC27462DAF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821185B-1797-45C5-B4DB-6C99EE6607DF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8211B-2771-4719-BECE-639B4DBA7B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231E3E-3101-488B-A6C4-154FBC6326A8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4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6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B61E4EC-36EC-41D5-B9B7-783BBD782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35"/>
          <a:stretch/>
        </p:blipFill>
        <p:spPr>
          <a:xfrm flipH="1">
            <a:off x="5561078" y="3176"/>
            <a:ext cx="6626323" cy="68778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BDC9C5-66D4-49B8-83BE-6DD040BD15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E15234A-4115-4590-A241-751A4900AB02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6D78D08C-E336-47D6-BCD6-678A83F384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5678EDC-28E0-4275-8812-63FB5DEBA3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CD80A44-7877-4362-9770-DE48981EA557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F737D29-A1BD-4899-9E1C-DAFBA9AAB537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726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view of a city&#10;&#10;Description automatically generated">
            <a:extLst>
              <a:ext uri="{FF2B5EF4-FFF2-40B4-BE49-F238E27FC236}">
                <a16:creationId xmlns:a16="http://schemas.microsoft.com/office/drawing/2014/main" id="{C145E3EE-C35F-4A42-9BFC-DA13C2703B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6328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559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73D5C8-0C46-488C-BBED-0D0571C9C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6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18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638745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EE5AA31-6352-4391-BD51-D11F0E285927}"/>
              </a:ext>
            </a:extLst>
          </p:cNvPr>
          <p:cNvCxnSpPr>
            <a:cxnSpLocks/>
          </p:cNvCxnSpPr>
          <p:nvPr userDrawn="1"/>
        </p:nvCxnSpPr>
        <p:spPr>
          <a:xfrm>
            <a:off x="269240" y="6351042"/>
            <a:ext cx="1161796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3731B67A-856E-4C40-A40C-42B24B844A89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271445" y="6432714"/>
            <a:ext cx="469511" cy="304697"/>
          </a:xfrm>
          <a:prstGeom prst="rect">
            <a:avLst/>
          </a:prstGeom>
        </p:spPr>
      </p:pic>
      <p:sp>
        <p:nvSpPr>
          <p:cNvPr id="28" name="Slide Number Placeholder 7">
            <a:extLst>
              <a:ext uri="{FF2B5EF4-FFF2-40B4-BE49-F238E27FC236}">
                <a16:creationId xmlns:a16="http://schemas.microsoft.com/office/drawing/2014/main" id="{F64D5107-63CE-45C0-B157-108D68B77A9A}"/>
              </a:ext>
            </a:extLst>
          </p:cNvPr>
          <p:cNvSpPr txBox="1">
            <a:spLocks/>
          </p:cNvSpPr>
          <p:nvPr userDrawn="1"/>
        </p:nvSpPr>
        <p:spPr>
          <a:xfrm>
            <a:off x="5894195" y="6286501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tx1"/>
                </a:solidFill>
              </a:rPr>
              <a:pPr/>
              <a:t>‹Nr.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183BDEA-AFAC-4BB8-9061-5EA66E6B23D7}"/>
              </a:ext>
            </a:extLst>
          </p:cNvPr>
          <p:cNvSpPr/>
          <p:nvPr userDrawn="1"/>
        </p:nvSpPr>
        <p:spPr>
          <a:xfrm flipH="1">
            <a:off x="5903717" y="6410380"/>
            <a:ext cx="381107" cy="454764"/>
          </a:xfrm>
          <a:custGeom>
            <a:avLst/>
            <a:gdLst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202459 w 381107"/>
              <a:gd name="connsiteY5" fmla="*/ 609600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183409 w 381107"/>
              <a:gd name="connsiteY5" fmla="*/ 516731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517283"/>
              <a:gd name="connsiteX1" fmla="*/ 178648 w 381107"/>
              <a:gd name="connsiteY1" fmla="*/ 0 h 517283"/>
              <a:gd name="connsiteX2" fmla="*/ 202459 w 381107"/>
              <a:gd name="connsiteY2" fmla="*/ 0 h 517283"/>
              <a:gd name="connsiteX3" fmla="*/ 381107 w 381107"/>
              <a:gd name="connsiteY3" fmla="*/ 178648 h 517283"/>
              <a:gd name="connsiteX4" fmla="*/ 381107 w 381107"/>
              <a:gd name="connsiteY4" fmla="*/ 430952 h 517283"/>
              <a:gd name="connsiteX5" fmla="*/ 183409 w 381107"/>
              <a:gd name="connsiteY5" fmla="*/ 516731 h 517283"/>
              <a:gd name="connsiteX6" fmla="*/ 171504 w 381107"/>
              <a:gd name="connsiteY6" fmla="*/ 516731 h 517283"/>
              <a:gd name="connsiteX7" fmla="*/ 0 w 381107"/>
              <a:gd name="connsiteY7" fmla="*/ 430952 h 517283"/>
              <a:gd name="connsiteX8" fmla="*/ 0 w 381107"/>
              <a:gd name="connsiteY8" fmla="*/ 178648 h 517283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0 w 381107"/>
              <a:gd name="connsiteY7" fmla="*/ 430952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176267 w 381107"/>
              <a:gd name="connsiteY0" fmla="*/ 452438 h 543878"/>
              <a:gd name="connsiteX1" fmla="*/ 2381 w 381107"/>
              <a:gd name="connsiteY1" fmla="*/ 452384 h 543878"/>
              <a:gd name="connsiteX2" fmla="*/ 0 w 381107"/>
              <a:gd name="connsiteY2" fmla="*/ 178648 h 543878"/>
              <a:gd name="connsiteX3" fmla="*/ 178648 w 381107"/>
              <a:gd name="connsiteY3" fmla="*/ 0 h 543878"/>
              <a:gd name="connsiteX4" fmla="*/ 202459 w 381107"/>
              <a:gd name="connsiteY4" fmla="*/ 0 h 543878"/>
              <a:gd name="connsiteX5" fmla="*/ 381107 w 381107"/>
              <a:gd name="connsiteY5" fmla="*/ 178648 h 543878"/>
              <a:gd name="connsiteX6" fmla="*/ 378726 w 381107"/>
              <a:gd name="connsiteY6" fmla="*/ 454764 h 543878"/>
              <a:gd name="connsiteX7" fmla="*/ 183409 w 381107"/>
              <a:gd name="connsiteY7" fmla="*/ 516731 h 543878"/>
              <a:gd name="connsiteX8" fmla="*/ 267707 w 381107"/>
              <a:gd name="connsiteY8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183409 w 381107"/>
              <a:gd name="connsiteY6" fmla="*/ 516731 h 543878"/>
              <a:gd name="connsiteX7" fmla="*/ 267707 w 381107"/>
              <a:gd name="connsiteY7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267707 w 381107"/>
              <a:gd name="connsiteY6" fmla="*/ 543878 h 543878"/>
              <a:gd name="connsiteX0" fmla="*/ 2381 w 381107"/>
              <a:gd name="connsiteY0" fmla="*/ 452384 h 454764"/>
              <a:gd name="connsiteX1" fmla="*/ 0 w 381107"/>
              <a:gd name="connsiteY1" fmla="*/ 178648 h 454764"/>
              <a:gd name="connsiteX2" fmla="*/ 178648 w 381107"/>
              <a:gd name="connsiteY2" fmla="*/ 0 h 454764"/>
              <a:gd name="connsiteX3" fmla="*/ 202459 w 381107"/>
              <a:gd name="connsiteY3" fmla="*/ 0 h 454764"/>
              <a:gd name="connsiteX4" fmla="*/ 381107 w 381107"/>
              <a:gd name="connsiteY4" fmla="*/ 178648 h 454764"/>
              <a:gd name="connsiteX5" fmla="*/ 378726 w 381107"/>
              <a:gd name="connsiteY5" fmla="*/ 454764 h 454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1107" h="454764">
                <a:moveTo>
                  <a:pt x="2381" y="452384"/>
                </a:moveTo>
                <a:cubicBezTo>
                  <a:pt x="1587" y="361139"/>
                  <a:pt x="794" y="269893"/>
                  <a:pt x="0" y="178648"/>
                </a:cubicBezTo>
                <a:cubicBezTo>
                  <a:pt x="0" y="79983"/>
                  <a:pt x="79983" y="0"/>
                  <a:pt x="178648" y="0"/>
                </a:cubicBezTo>
                <a:lnTo>
                  <a:pt x="202459" y="0"/>
                </a:lnTo>
                <a:cubicBezTo>
                  <a:pt x="301124" y="0"/>
                  <a:pt x="381107" y="79983"/>
                  <a:pt x="381107" y="178648"/>
                </a:cubicBezTo>
                <a:cubicBezTo>
                  <a:pt x="380313" y="270687"/>
                  <a:pt x="379520" y="362725"/>
                  <a:pt x="378726" y="454764"/>
                </a:cubicBez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5DD4AD-64C5-4600-BEB2-CA923704EE05}"/>
              </a:ext>
            </a:extLst>
          </p:cNvPr>
          <p:cNvSpPr txBox="1"/>
          <p:nvPr userDrawn="1"/>
        </p:nvSpPr>
        <p:spPr>
          <a:xfrm>
            <a:off x="8839200" y="6436311"/>
            <a:ext cx="2209801" cy="301100"/>
          </a:xfrm>
          <a:prstGeom prst="rect">
            <a:avLst/>
          </a:prstGeom>
          <a:noFill/>
        </p:spPr>
        <p:txBody>
          <a:bodyPr wrap="square" lIns="0" rIns="0" bIns="0" rtlCol="0" anchor="b" anchorCtr="0">
            <a:noAutofit/>
          </a:bodyPr>
          <a:lstStyle/>
          <a:p>
            <a:pPr algn="r"/>
            <a:r>
              <a:rPr lang="en-US" sz="800">
                <a:solidFill>
                  <a:schemeClr val="tx1"/>
                </a:solidFill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9995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98" r:id="rId2"/>
    <p:sldLayoutId id="2147483999" r:id="rId3"/>
    <p:sldLayoutId id="2147484044" r:id="rId4"/>
    <p:sldLayoutId id="2147484018" r:id="rId5"/>
    <p:sldLayoutId id="2147484024" r:id="rId6"/>
    <p:sldLayoutId id="2147484025" r:id="rId7"/>
    <p:sldLayoutId id="2147484028" r:id="rId8"/>
    <p:sldLayoutId id="2147484047" r:id="rId9"/>
    <p:sldLayoutId id="2147484051" r:id="rId10"/>
    <p:sldLayoutId id="2147484052" r:id="rId11"/>
    <p:sldLayoutId id="2147484053" r:id="rId12"/>
    <p:sldLayoutId id="2147484055" r:id="rId13"/>
    <p:sldLayoutId id="2147484056" r:id="rId14"/>
    <p:sldLayoutId id="2147484054" r:id="rId15"/>
    <p:sldLayoutId id="2147484002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400" b="1" i="0" kern="1200" dirty="0">
          <a:solidFill>
            <a:schemeClr val="tx2"/>
          </a:solidFill>
          <a:latin typeface="Roboto" charset="0"/>
          <a:ea typeface="Roboto" charset="0"/>
          <a:cs typeface="Roboto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000" b="1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1pPr>
      <a:lvl2pPr marL="228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2pPr>
      <a:lvl3pPr marL="4572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‒"/>
        <a:defRPr lang="en-US" sz="14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061EB04C-8F18-425A-8EF7-78FD4C7C8D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7760" y="381000"/>
            <a:ext cx="1564999" cy="1473200"/>
          </a:xfrm>
          <a:prstGeom prst="rect">
            <a:avLst/>
          </a:prstGeom>
        </p:spPr>
      </p:pic>
      <p:pic>
        <p:nvPicPr>
          <p:cNvPr id="18434" name="Picture 2" descr="microtca4 system 9u">
            <a:extLst>
              <a:ext uri="{FF2B5EF4-FFF2-40B4-BE49-F238E27FC236}">
                <a16:creationId xmlns:a16="http://schemas.microsoft.com/office/drawing/2014/main" id="{25FF782E-FF02-4788-917C-65ED11DD0A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47788" y="1498933"/>
            <a:ext cx="3711255" cy="3711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1">
            <a:extLst>
              <a:ext uri="{FF2B5EF4-FFF2-40B4-BE49-F238E27FC236}">
                <a16:creationId xmlns:a16="http://schemas.microsoft.com/office/drawing/2014/main" id="{C0F81A3C-DE91-4ACA-9021-0F97C454C8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8650" y="2743200"/>
            <a:ext cx="6410558" cy="1479223"/>
          </a:xfrm>
        </p:spPr>
        <p:txBody>
          <a:bodyPr/>
          <a:lstStyle/>
          <a:p>
            <a:r>
              <a:rPr lang="en-US" dirty="0"/>
              <a:t>Engineering Challenges in Scaling </a:t>
            </a:r>
            <a:r>
              <a:rPr lang="en-US" dirty="0" err="1"/>
              <a:t>MicroTCA</a:t>
            </a:r>
            <a:r>
              <a:rPr lang="en-US" dirty="0"/>
              <a:t> for High-Power Double Full-Size AMC Configurations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0608884C-3B29-465D-94E5-A06A84A4092C}"/>
              </a:ext>
            </a:extLst>
          </p:cNvPr>
          <p:cNvSpPr txBox="1">
            <a:spLocks/>
          </p:cNvSpPr>
          <p:nvPr/>
        </p:nvSpPr>
        <p:spPr>
          <a:xfrm>
            <a:off x="619241" y="685800"/>
            <a:ext cx="6410558" cy="1828800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i="0" kern="120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MTCA.4 Quantum </a:t>
            </a:r>
            <a:r>
              <a:rPr lang="de-DE" dirty="0" err="1"/>
              <a:t>Crates</a:t>
            </a:r>
            <a:endParaRPr lang="de-DE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B3189BD-7B36-43F7-8C7F-DEC33D54D2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4343400"/>
            <a:ext cx="3714750" cy="685800"/>
          </a:xfrm>
        </p:spPr>
        <p:txBody>
          <a:bodyPr/>
          <a:lstStyle/>
          <a:p>
            <a:r>
              <a:rPr lang="de-DE" dirty="0"/>
              <a:t>Christian Ganninger</a:t>
            </a:r>
          </a:p>
          <a:p>
            <a:r>
              <a:rPr lang="de-DE" dirty="0"/>
              <a:t>12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721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E0BE17-53D2-0FB2-CE09-68B6947A91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296A270-D0CD-9D4C-617E-E7FCCE9D36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037629"/>
            <a:ext cx="3661738" cy="1942022"/>
          </a:xfrm>
        </p:spPr>
        <p:txBody>
          <a:bodyPr/>
          <a:lstStyle/>
          <a:p>
            <a:r>
              <a:rPr lang="de-DE" dirty="0"/>
              <a:t>Front (Redundant </a:t>
            </a:r>
            <a:r>
              <a:rPr lang="de-DE" dirty="0" err="1"/>
              <a:t>version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2 Double </a:t>
            </a:r>
            <a:r>
              <a:rPr lang="de-DE" dirty="0" err="1"/>
              <a:t>Full</a:t>
            </a:r>
            <a:r>
              <a:rPr lang="de-DE" dirty="0"/>
              <a:t>-size MCH Slots</a:t>
            </a:r>
          </a:p>
          <a:p>
            <a:pPr lvl="1"/>
            <a:r>
              <a:rPr lang="de-DE" dirty="0"/>
              <a:t>12 Double </a:t>
            </a:r>
            <a:r>
              <a:rPr lang="de-DE" dirty="0" err="1"/>
              <a:t>Full</a:t>
            </a:r>
            <a:r>
              <a:rPr lang="de-DE" dirty="0"/>
              <a:t>-size AMC Slots</a:t>
            </a:r>
          </a:p>
          <a:p>
            <a:pPr lvl="1"/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DA6BAF4-0E38-6FE8-0676-5282C7D6A1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1B83973-BDD4-E75C-D5BD-356724ABD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lementa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12 </a:t>
            </a:r>
            <a:r>
              <a:rPr lang="de-DE" dirty="0" err="1"/>
              <a:t>Full</a:t>
            </a:r>
            <a:r>
              <a:rPr lang="de-DE" dirty="0"/>
              <a:t>-size AMC </a:t>
            </a:r>
            <a:r>
              <a:rPr lang="de-DE" dirty="0" err="1"/>
              <a:t>Crates</a:t>
            </a:r>
            <a:r>
              <a:rPr lang="de-DE" dirty="0"/>
              <a:t> in </a:t>
            </a:r>
            <a:r>
              <a:rPr lang="de-DE" dirty="0" err="1"/>
              <a:t>accord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Rev 3.0</a:t>
            </a:r>
            <a:endParaRPr lang="en-US" dirty="0"/>
          </a:p>
        </p:txBody>
      </p:sp>
      <p:sp>
        <p:nvSpPr>
          <p:cNvPr id="215" name="Inhaltsplatzhalter 5">
            <a:extLst>
              <a:ext uri="{FF2B5EF4-FFF2-40B4-BE49-F238E27FC236}">
                <a16:creationId xmlns:a16="http://schemas.microsoft.com/office/drawing/2014/main" id="{D491074D-4156-91A0-4CE9-85E3271DC3DE}"/>
              </a:ext>
            </a:extLst>
          </p:cNvPr>
          <p:cNvSpPr txBox="1">
            <a:spLocks/>
          </p:cNvSpPr>
          <p:nvPr/>
        </p:nvSpPr>
        <p:spPr>
          <a:xfrm>
            <a:off x="4562573" y="1037629"/>
            <a:ext cx="3745009" cy="1942022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lang="en-US" sz="16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ar (Redundant version)</a:t>
            </a:r>
          </a:p>
          <a:p>
            <a:pPr lvl="1"/>
            <a:r>
              <a:rPr lang="en-US" dirty="0"/>
              <a:t>2 Double Full-size PM Slot (rotated by 180°</a:t>
            </a:r>
          </a:p>
          <a:p>
            <a:pPr lvl="1"/>
            <a:r>
              <a:rPr lang="en-US" dirty="0"/>
              <a:t>12 Double Full-size RTM Slots</a:t>
            </a:r>
          </a:p>
          <a:p>
            <a:pPr lvl="1"/>
            <a:r>
              <a:rPr lang="en-US" dirty="0"/>
              <a:t>1 Single Full-size JSM Slot</a:t>
            </a:r>
          </a:p>
          <a:p>
            <a:pPr lvl="1"/>
            <a:endParaRPr lang="en-US" dirty="0"/>
          </a:p>
        </p:txBody>
      </p:sp>
      <p:sp>
        <p:nvSpPr>
          <p:cNvPr id="216" name="Inhaltsplatzhalter 5">
            <a:extLst>
              <a:ext uri="{FF2B5EF4-FFF2-40B4-BE49-F238E27FC236}">
                <a16:creationId xmlns:a16="http://schemas.microsoft.com/office/drawing/2014/main" id="{65426E4D-9746-9080-213E-079C50DA0BFB}"/>
              </a:ext>
            </a:extLst>
          </p:cNvPr>
          <p:cNvSpPr txBox="1">
            <a:spLocks/>
          </p:cNvSpPr>
          <p:nvPr/>
        </p:nvSpPr>
        <p:spPr>
          <a:xfrm>
            <a:off x="9050306" y="1037629"/>
            <a:ext cx="2836894" cy="1942022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lang="en-US" sz="16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ption for Rear Backplane</a:t>
            </a:r>
          </a:p>
          <a:p>
            <a:r>
              <a:rPr lang="en-US" dirty="0"/>
              <a:t>No RPM’s possible</a:t>
            </a:r>
          </a:p>
          <a:p>
            <a:r>
              <a:rPr lang="en-US" dirty="0"/>
              <a:t>No MCH RTM’s possible</a:t>
            </a:r>
          </a:p>
          <a:p>
            <a:pPr lvl="1"/>
            <a:endParaRPr lang="en-US" dirty="0"/>
          </a:p>
        </p:txBody>
      </p:sp>
      <p:pic>
        <p:nvPicPr>
          <p:cNvPr id="65" name="Grafik 64">
            <a:extLst>
              <a:ext uri="{FF2B5EF4-FFF2-40B4-BE49-F238E27FC236}">
                <a16:creationId xmlns:a16="http://schemas.microsoft.com/office/drawing/2014/main" id="{000D50B3-4632-C839-A623-2F12FC6CF8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239" y="3086700"/>
            <a:ext cx="4224957" cy="3140440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DFBA5E58-8A4D-5976-EF15-B642625C37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7990" y="3093355"/>
            <a:ext cx="4224957" cy="3168717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CE286244-CCF1-1F4E-1C2D-A2763D975F6E}"/>
              </a:ext>
            </a:extLst>
          </p:cNvPr>
          <p:cNvGrpSpPr/>
          <p:nvPr/>
        </p:nvGrpSpPr>
        <p:grpSpPr>
          <a:xfrm>
            <a:off x="8949931" y="4104082"/>
            <a:ext cx="3037643" cy="1105675"/>
            <a:chOff x="8552239" y="4628560"/>
            <a:chExt cx="3037643" cy="1105675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FDEB64F4-655C-AF69-B147-35D66EED6A7D}"/>
                </a:ext>
              </a:extLst>
            </p:cNvPr>
            <p:cNvGrpSpPr/>
            <p:nvPr/>
          </p:nvGrpSpPr>
          <p:grpSpPr>
            <a:xfrm>
              <a:off x="8552239" y="4637987"/>
              <a:ext cx="1551482" cy="1096248"/>
              <a:chOff x="7810233" y="2170417"/>
              <a:chExt cx="1551482" cy="1096248"/>
            </a:xfrm>
          </p:grpSpPr>
          <p:sp>
            <p:nvSpPr>
              <p:cNvPr id="5" name="Rechteck 4">
                <a:extLst>
                  <a:ext uri="{FF2B5EF4-FFF2-40B4-BE49-F238E27FC236}">
                    <a16:creationId xmlns:a16="http://schemas.microsoft.com/office/drawing/2014/main" id="{798D5FED-47F8-1A9C-3371-769677E9AB86}"/>
                  </a:ext>
                </a:extLst>
              </p:cNvPr>
              <p:cNvSpPr/>
              <p:nvPr/>
            </p:nvSpPr>
            <p:spPr>
              <a:xfrm>
                <a:off x="7873370" y="2198698"/>
                <a:ext cx="1340299" cy="1058308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de-DE" sz="1400" dirty="0">
                    <a:solidFill>
                      <a:schemeClr val="tx1"/>
                    </a:solidFill>
                  </a:rPr>
                  <a:t>Double</a:t>
                </a:r>
              </a:p>
              <a:p>
                <a:pPr algn="ctr"/>
                <a:r>
                  <a:rPr lang="de-DE" sz="1400" dirty="0">
                    <a:solidFill>
                      <a:schemeClr val="tx1"/>
                    </a:solidFill>
                  </a:rPr>
                  <a:t>MCH</a:t>
                </a:r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Rechteck 6">
                <a:extLst>
                  <a:ext uri="{FF2B5EF4-FFF2-40B4-BE49-F238E27FC236}">
                    <a16:creationId xmlns:a16="http://schemas.microsoft.com/office/drawing/2014/main" id="{E5966DFC-B1BA-1148-65FE-2FB28A42ACCE}"/>
                  </a:ext>
                </a:extLst>
              </p:cNvPr>
              <p:cNvSpPr/>
              <p:nvPr/>
            </p:nvSpPr>
            <p:spPr>
              <a:xfrm>
                <a:off x="7810233" y="2170417"/>
                <a:ext cx="54423" cy="1096248"/>
              </a:xfrm>
              <a:prstGeom prst="rect">
                <a:avLst/>
              </a:prstGeom>
              <a:solidFill>
                <a:schemeClr val="accent5">
                  <a:lumMod val="85000"/>
                </a:schemeClr>
              </a:solidFill>
              <a:ln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Rechteck 7">
                <a:extLst>
                  <a:ext uri="{FF2B5EF4-FFF2-40B4-BE49-F238E27FC236}">
                    <a16:creationId xmlns:a16="http://schemas.microsoft.com/office/drawing/2014/main" id="{75AA6E26-0E7E-49E7-7454-23CF9D6B1B73}"/>
                  </a:ext>
                </a:extLst>
              </p:cNvPr>
              <p:cNvSpPr/>
              <p:nvPr/>
            </p:nvSpPr>
            <p:spPr>
              <a:xfrm>
                <a:off x="9305108" y="2198699"/>
                <a:ext cx="56607" cy="1058308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A4957476-42E4-C100-AF2A-1D333C230E66}"/>
                  </a:ext>
                </a:extLst>
              </p:cNvPr>
              <p:cNvSpPr/>
              <p:nvPr/>
            </p:nvSpPr>
            <p:spPr>
              <a:xfrm>
                <a:off x="9213669" y="2783160"/>
                <a:ext cx="91439" cy="416460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19B7C6DE-FEDF-43D3-38F3-3F0C1AEA1D53}"/>
                </a:ext>
              </a:extLst>
            </p:cNvPr>
            <p:cNvSpPr/>
            <p:nvPr/>
          </p:nvSpPr>
          <p:spPr>
            <a:xfrm rot="10800000">
              <a:off x="10195160" y="4656920"/>
              <a:ext cx="1340299" cy="105830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  <a:p>
              <a:pPr algn="ctr"/>
              <a:r>
                <a:rPr lang="de-DE" sz="1400" dirty="0">
                  <a:solidFill>
                    <a:srgbClr val="C00000"/>
                  </a:solidFill>
                </a:rPr>
                <a:t>Double</a:t>
              </a:r>
            </a:p>
            <a:p>
              <a:pPr algn="ctr"/>
              <a:r>
                <a:rPr lang="de-DE" sz="1400" dirty="0">
                  <a:solidFill>
                    <a:srgbClr val="C00000"/>
                  </a:solidFill>
                </a:rPr>
                <a:t>PM</a:t>
              </a:r>
              <a:endParaRPr lang="en-US" sz="1400" dirty="0" err="1">
                <a:solidFill>
                  <a:srgbClr val="C00000"/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5637E07-BAA7-6BD6-3509-6E026D91FE91}"/>
                </a:ext>
              </a:extLst>
            </p:cNvPr>
            <p:cNvSpPr/>
            <p:nvPr/>
          </p:nvSpPr>
          <p:spPr>
            <a:xfrm>
              <a:off x="10103721" y="4743702"/>
              <a:ext cx="91439" cy="416460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BDAAA9B-1C4C-2629-A961-7C898B798DE6}"/>
                </a:ext>
              </a:extLst>
            </p:cNvPr>
            <p:cNvSpPr/>
            <p:nvPr/>
          </p:nvSpPr>
          <p:spPr>
            <a:xfrm>
              <a:off x="11535459" y="4628560"/>
              <a:ext cx="54423" cy="1096248"/>
            </a:xfrm>
            <a:prstGeom prst="rect">
              <a:avLst/>
            </a:prstGeom>
            <a:solidFill>
              <a:schemeClr val="accent5">
                <a:lumMod val="85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03275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260C36-1D48-A389-2C97-F67AFFD210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B971CA3-645E-B121-B52B-24AA36C8A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en-US" dirty="0"/>
          </a:p>
        </p:txBody>
      </p:sp>
      <p:sp>
        <p:nvSpPr>
          <p:cNvPr id="5" name="Inhaltsplatzhalter 162">
            <a:extLst>
              <a:ext uri="{FF2B5EF4-FFF2-40B4-BE49-F238E27FC236}">
                <a16:creationId xmlns:a16="http://schemas.microsoft.com/office/drawing/2014/main" id="{BD3BC9B6-3E55-B023-9B75-FEE5A1ED757F}"/>
              </a:ext>
            </a:extLst>
          </p:cNvPr>
          <p:cNvSpPr txBox="1">
            <a:spLocks/>
          </p:cNvSpPr>
          <p:nvPr/>
        </p:nvSpPr>
        <p:spPr>
          <a:xfrm>
            <a:off x="269239" y="1104900"/>
            <a:ext cx="8601384" cy="5107364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lang="en-US" sz="16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dirty="0"/>
              <a:t>There are several different options to implement 12 Double Full-size AMC’s into a 19” Crate</a:t>
            </a:r>
          </a:p>
          <a:p>
            <a:pPr>
              <a:spcBef>
                <a:spcPts val="1200"/>
              </a:spcBef>
            </a:pPr>
            <a:r>
              <a:rPr lang="en-US" b="1" dirty="0"/>
              <a:t>Trade-offs</a:t>
            </a:r>
            <a:r>
              <a:rPr lang="en-US" dirty="0"/>
              <a:t> either in redundancy, number of Power Modules and Rear Power Modules</a:t>
            </a:r>
          </a:p>
          <a:p>
            <a:pPr>
              <a:spcBef>
                <a:spcPts val="1200"/>
              </a:spcBef>
            </a:pPr>
            <a:r>
              <a:rPr lang="en-US" dirty="0"/>
              <a:t>As soon as Power </a:t>
            </a:r>
            <a:r>
              <a:rPr lang="en-US" b="1" dirty="0"/>
              <a:t>exceeds 80 W </a:t>
            </a:r>
            <a:r>
              <a:rPr lang="en-US" dirty="0"/>
              <a:t>per Module, further changes are required:</a:t>
            </a:r>
          </a:p>
          <a:p>
            <a:pPr lvl="1">
              <a:spcBef>
                <a:spcPts val="1200"/>
              </a:spcBef>
            </a:pPr>
            <a:r>
              <a:rPr lang="en-US" b="1" dirty="0"/>
              <a:t>New air flow </a:t>
            </a:r>
            <a:r>
              <a:rPr lang="en-US" dirty="0"/>
              <a:t>concept with 4 counter rotating fans, pulling air out at the top rear (up to 2500 W cooling capacity)</a:t>
            </a:r>
          </a:p>
          <a:p>
            <a:pPr lvl="1">
              <a:spcBef>
                <a:spcPts val="1200"/>
              </a:spcBef>
            </a:pPr>
            <a:r>
              <a:rPr lang="en-US" dirty="0"/>
              <a:t>Above 2500 W, </a:t>
            </a:r>
            <a:r>
              <a:rPr lang="en-US" b="1" dirty="0"/>
              <a:t>24 V or 48 V fans </a:t>
            </a:r>
            <a:r>
              <a:rPr lang="en-US" dirty="0"/>
              <a:t>are needed, powered by separate power input;</a:t>
            </a:r>
          </a:p>
          <a:p>
            <a:pPr lvl="1">
              <a:spcBef>
                <a:spcPts val="1200"/>
              </a:spcBef>
            </a:pPr>
            <a:r>
              <a:rPr lang="en-US" dirty="0"/>
              <a:t>Alternatively: Cooling solutions based on liquid cooling </a:t>
            </a:r>
          </a:p>
          <a:p>
            <a:pPr lvl="1">
              <a:spcBef>
                <a:spcPts val="1200"/>
              </a:spcBef>
            </a:pPr>
            <a:r>
              <a:rPr lang="en-US" dirty="0"/>
              <a:t>For crates requiring redundant power supply, the Power Modules need to move out of the rear card cage</a:t>
            </a:r>
          </a:p>
          <a:p>
            <a:pPr lvl="2">
              <a:spcBef>
                <a:spcPts val="1200"/>
              </a:spcBef>
            </a:pPr>
            <a:r>
              <a:rPr lang="en-US" dirty="0"/>
              <a:t>200 W * 16 (12 AMC, 2 MCH, 2 CU) = 3200 W -&gt; 3 + 1 redundancy: 4 * 1100 W PSU’s</a:t>
            </a:r>
          </a:p>
          <a:p>
            <a:pPr lvl="2">
              <a:spcBef>
                <a:spcPts val="1200"/>
              </a:spcBef>
            </a:pPr>
            <a:r>
              <a:rPr lang="en-US" dirty="0"/>
              <a:t>200 W * 14 (12 AMC, 2 MCH, CU’s powered separately) = 2800 W -&gt; 2 + 1 redundancy: 3 * 1400 W PSU’s</a:t>
            </a:r>
          </a:p>
          <a:p>
            <a:pPr marL="0" indent="0">
              <a:spcBef>
                <a:spcPts val="2400"/>
              </a:spcBef>
              <a:buNone/>
            </a:pPr>
            <a:endParaRPr lang="en-US" dirty="0"/>
          </a:p>
          <a:p>
            <a:pPr>
              <a:spcBef>
                <a:spcPts val="2400"/>
              </a:spcBef>
            </a:pPr>
            <a:endParaRPr lang="en-US" dirty="0"/>
          </a:p>
          <a:p>
            <a:pPr>
              <a:spcBef>
                <a:spcPts val="2400"/>
              </a:spcBef>
            </a:pPr>
            <a:endParaRPr lang="en-US" dirty="0"/>
          </a:p>
        </p:txBody>
      </p:sp>
      <p:pic>
        <p:nvPicPr>
          <p:cNvPr id="6" name="Grafik 5" descr="Ein Bild, das Computer, Barbecue enthält.&#10;&#10;Automatisch generierte Beschreibung">
            <a:extLst>
              <a:ext uri="{FF2B5EF4-FFF2-40B4-BE49-F238E27FC236}">
                <a16:creationId xmlns:a16="http://schemas.microsoft.com/office/drawing/2014/main" id="{78C844B5-D272-FEAE-0F00-E273C1B017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33714" y="866139"/>
            <a:ext cx="2356159" cy="1570772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A9B90B7E-CC7C-6D09-FE98-12281DB7C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2255" y="2538940"/>
            <a:ext cx="2522725" cy="1635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732954E-3459-C03E-AFB5-E66214E16F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64475" y="4174039"/>
            <a:ext cx="2558286" cy="2141920"/>
          </a:xfrm>
          <a:prstGeom prst="rect">
            <a:avLst/>
          </a:prstGeom>
        </p:spPr>
      </p:pic>
      <p:sp>
        <p:nvSpPr>
          <p:cNvPr id="9" name="Pfeil: nach unten 8">
            <a:extLst>
              <a:ext uri="{FF2B5EF4-FFF2-40B4-BE49-F238E27FC236}">
                <a16:creationId xmlns:a16="http://schemas.microsoft.com/office/drawing/2014/main" id="{7EB71E5E-5C54-360C-6D0B-0F0EE87BAC5D}"/>
              </a:ext>
            </a:extLst>
          </p:cNvPr>
          <p:cNvSpPr/>
          <p:nvPr/>
        </p:nvSpPr>
        <p:spPr>
          <a:xfrm>
            <a:off x="10652288" y="2369257"/>
            <a:ext cx="239535" cy="339365"/>
          </a:xfrm>
          <a:prstGeom prst="downArrow">
            <a:avLst/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0313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7CC0616F-F70A-0130-E38E-5364D7C32A6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4220641" y="4261810"/>
            <a:ext cx="3283095" cy="1945816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B13E01-116D-C55C-FE53-C8004AECCF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9AFCA04-B2FD-8DF2-F479-E0784D4F3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quid Cooling </a:t>
            </a:r>
            <a:r>
              <a:rPr lang="de-DE" dirty="0" err="1"/>
              <a:t>concep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rates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66354977-06B2-EFF1-E3AF-099C59A4F556}"/>
              </a:ext>
            </a:extLst>
          </p:cNvPr>
          <p:cNvSpPr txBox="1">
            <a:spLocks/>
          </p:cNvSpPr>
          <p:nvPr/>
        </p:nvSpPr>
        <p:spPr>
          <a:xfrm>
            <a:off x="269239" y="1037629"/>
            <a:ext cx="3020716" cy="1942022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lang="en-US" sz="16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Cabinet Level</a:t>
            </a:r>
          </a:p>
          <a:p>
            <a:r>
              <a:rPr lang="en-US" dirty="0"/>
              <a:t>LHX (air / water heat exchanger)</a:t>
            </a:r>
          </a:p>
          <a:p>
            <a:r>
              <a:rPr lang="en-US" dirty="0"/>
              <a:t>Air Conditioner</a:t>
            </a:r>
          </a:p>
          <a:p>
            <a:pPr lvl="1"/>
            <a:endParaRPr lang="en-US" dirty="0"/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084C5752-5E2E-6A34-7C5F-82E4FDD3B621}"/>
              </a:ext>
            </a:extLst>
          </p:cNvPr>
          <p:cNvSpPr txBox="1">
            <a:spLocks/>
          </p:cNvSpPr>
          <p:nvPr/>
        </p:nvSpPr>
        <p:spPr>
          <a:xfrm>
            <a:off x="4220641" y="1037629"/>
            <a:ext cx="3020716" cy="1942022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lang="en-US" sz="16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Crate Level</a:t>
            </a:r>
          </a:p>
          <a:p>
            <a:r>
              <a:rPr lang="en-US" dirty="0"/>
              <a:t>Air Conditioner, cooling down the air inlet temperature of the Crate</a:t>
            </a:r>
          </a:p>
          <a:p>
            <a:pPr lvl="1"/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EBF9D24-BAD6-50AD-FF00-9C80C73C0CF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241" t="8106" b="9122"/>
          <a:stretch>
            <a:fillRect/>
          </a:stretch>
        </p:blipFill>
        <p:spPr>
          <a:xfrm>
            <a:off x="4220640" y="2365001"/>
            <a:ext cx="3283095" cy="1815193"/>
          </a:xfrm>
          <a:prstGeom prst="rect">
            <a:avLst/>
          </a:prstGeom>
        </p:spPr>
      </p:pic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C4137735-9480-B320-54BB-00DA6E558B02}"/>
              </a:ext>
            </a:extLst>
          </p:cNvPr>
          <p:cNvSpPr txBox="1">
            <a:spLocks/>
          </p:cNvSpPr>
          <p:nvPr/>
        </p:nvSpPr>
        <p:spPr>
          <a:xfrm>
            <a:off x="8434420" y="1037629"/>
            <a:ext cx="3020716" cy="1942022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lang="en-US" sz="16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Module Level</a:t>
            </a:r>
          </a:p>
          <a:p>
            <a:r>
              <a:rPr lang="en-US" dirty="0"/>
              <a:t>Liquid Flow Through Cold Plate</a:t>
            </a:r>
          </a:p>
          <a:p>
            <a:endParaRPr lang="en-US" dirty="0"/>
          </a:p>
          <a:p>
            <a:pPr lvl="1"/>
            <a:endParaRPr lang="en-US" dirty="0"/>
          </a:p>
        </p:txBody>
      </p:sp>
      <p:pic>
        <p:nvPicPr>
          <p:cNvPr id="11" name="Grafik 10" descr="Ein Bild, das Screenshot enthält.&#10;&#10;KI-generierte Inhalte können fehlerhaft sein.">
            <a:extLst>
              <a:ext uri="{FF2B5EF4-FFF2-40B4-BE49-F238E27FC236}">
                <a16:creationId xmlns:a16="http://schemas.microsoft.com/office/drawing/2014/main" id="{33FA15A9-A407-4572-5B69-37EAA9DB80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47807" y="2170845"/>
            <a:ext cx="2664357" cy="2432134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0E6D874F-78E0-7A37-D332-F67AC2A853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7808" y="4815659"/>
            <a:ext cx="2807328" cy="1391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8B7B3C98-08FE-3B5D-F556-801EF354418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9182" r="13877" b="52165"/>
          <a:stretch>
            <a:fillRect/>
          </a:stretch>
        </p:blipFill>
        <p:spPr>
          <a:xfrm>
            <a:off x="674878" y="2462163"/>
            <a:ext cx="2220722" cy="158688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D9819C8-89C4-1BA2-0307-EB4297436F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2676" y="3952327"/>
            <a:ext cx="2379487" cy="2379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533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6579AC-0A4E-9062-1635-814BAEB96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45F325-EB2F-D9C1-A4E0-482135FFA0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Inhaltsplatzhalter 162">
            <a:extLst>
              <a:ext uri="{FF2B5EF4-FFF2-40B4-BE49-F238E27FC236}">
                <a16:creationId xmlns:a16="http://schemas.microsoft.com/office/drawing/2014/main" id="{B5E80E31-8AC4-4F4E-303A-81C4F0A6C5F0}"/>
              </a:ext>
            </a:extLst>
          </p:cNvPr>
          <p:cNvSpPr txBox="1">
            <a:spLocks/>
          </p:cNvSpPr>
          <p:nvPr/>
        </p:nvSpPr>
        <p:spPr>
          <a:xfrm>
            <a:off x="2554664" y="1179300"/>
            <a:ext cx="6636470" cy="875167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lang="en-US" sz="16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en-US" sz="3600" b="1" dirty="0">
                <a:solidFill>
                  <a:srgbClr val="C00000"/>
                </a:solidFill>
              </a:rPr>
              <a:t>What are your requirements?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6311A40-2D9E-D6CC-4282-87ABF085B879}"/>
              </a:ext>
            </a:extLst>
          </p:cNvPr>
          <p:cNvSpPr txBox="1"/>
          <p:nvPr/>
        </p:nvSpPr>
        <p:spPr>
          <a:xfrm>
            <a:off x="4357540" y="2963842"/>
            <a:ext cx="2608869" cy="584775"/>
          </a:xfrm>
          <a:prstGeom prst="rect">
            <a:avLst/>
          </a:prstGeom>
          <a:solidFill>
            <a:srgbClr val="EDB638"/>
          </a:solidFill>
          <a:ln w="127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>
              <a:defRPr sz="2400"/>
            </a:lvl1pPr>
          </a:lstStyle>
          <a:p>
            <a:r>
              <a:rPr lang="en-US" sz="3200" dirty="0"/>
              <a:t>No. of AMC’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74DC6DA-55B8-CAFA-5366-043DB902A09F}"/>
              </a:ext>
            </a:extLst>
          </p:cNvPr>
          <p:cNvSpPr txBox="1"/>
          <p:nvPr/>
        </p:nvSpPr>
        <p:spPr>
          <a:xfrm>
            <a:off x="1787432" y="3905626"/>
            <a:ext cx="1340958" cy="584775"/>
          </a:xfrm>
          <a:prstGeom prst="rect">
            <a:avLst/>
          </a:prstGeom>
          <a:solidFill>
            <a:srgbClr val="EDB638"/>
          </a:solidFill>
          <a:ln w="127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>
              <a:defRPr sz="2400"/>
            </a:lvl1pPr>
          </a:lstStyle>
          <a:p>
            <a:r>
              <a:rPr lang="en-US" sz="3200" dirty="0"/>
              <a:t>Power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DE2CB4A-BA7C-62DE-E8B2-B274FA534D2C}"/>
              </a:ext>
            </a:extLst>
          </p:cNvPr>
          <p:cNvSpPr txBox="1"/>
          <p:nvPr/>
        </p:nvSpPr>
        <p:spPr>
          <a:xfrm>
            <a:off x="8494469" y="4040034"/>
            <a:ext cx="1910099" cy="584775"/>
          </a:xfrm>
          <a:prstGeom prst="rect">
            <a:avLst/>
          </a:prstGeom>
          <a:solidFill>
            <a:srgbClr val="EDB638"/>
          </a:solidFill>
          <a:ln w="127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>
              <a:defRPr sz="2400"/>
            </a:lvl1pPr>
          </a:lstStyle>
          <a:p>
            <a:r>
              <a:rPr lang="en-US" sz="3200" dirty="0"/>
              <a:t>RTM BP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0329608-BCD2-04EC-5FCC-9CE3CA86E631}"/>
              </a:ext>
            </a:extLst>
          </p:cNvPr>
          <p:cNvSpPr txBox="1"/>
          <p:nvPr/>
        </p:nvSpPr>
        <p:spPr>
          <a:xfrm>
            <a:off x="8606698" y="2194857"/>
            <a:ext cx="1139176" cy="584775"/>
          </a:xfrm>
          <a:prstGeom prst="rect">
            <a:avLst/>
          </a:prstGeom>
          <a:solidFill>
            <a:srgbClr val="EDB638"/>
          </a:solidFill>
          <a:ln w="127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>
              <a:defRPr sz="2400"/>
            </a:lvl1pPr>
          </a:lstStyle>
          <a:p>
            <a:r>
              <a:rPr lang="en-US" sz="3200" dirty="0"/>
              <a:t>RPM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B90244DA-E3DB-F19C-1B0B-61C99E1E86EA}"/>
              </a:ext>
            </a:extLst>
          </p:cNvPr>
          <p:cNvSpPr txBox="1"/>
          <p:nvPr/>
        </p:nvSpPr>
        <p:spPr>
          <a:xfrm>
            <a:off x="4844762" y="4512248"/>
            <a:ext cx="2502475" cy="584775"/>
          </a:xfrm>
          <a:prstGeom prst="rect">
            <a:avLst/>
          </a:prstGeom>
          <a:solidFill>
            <a:srgbClr val="EDB638"/>
          </a:solidFill>
          <a:ln w="127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>
              <a:defRPr sz="2400"/>
            </a:lvl1pPr>
          </a:lstStyle>
          <a:p>
            <a:r>
              <a:rPr lang="en-US" sz="3200"/>
              <a:t>Redundancy</a:t>
            </a:r>
            <a:endParaRPr lang="en-US" sz="32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53AA81E5-3BDE-4F95-4CB8-45F6AFA22BBB}"/>
              </a:ext>
            </a:extLst>
          </p:cNvPr>
          <p:cNvSpPr txBox="1"/>
          <p:nvPr/>
        </p:nvSpPr>
        <p:spPr>
          <a:xfrm>
            <a:off x="1056449" y="2338847"/>
            <a:ext cx="2374908" cy="584775"/>
          </a:xfrm>
          <a:prstGeom prst="rect">
            <a:avLst/>
          </a:prstGeom>
          <a:solidFill>
            <a:srgbClr val="EDB638"/>
          </a:solidFill>
          <a:ln w="127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3200" dirty="0"/>
              <a:t>AMC width?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C57A753-EC6F-1B29-2913-C2BC62E3AEA7}"/>
              </a:ext>
            </a:extLst>
          </p:cNvPr>
          <p:cNvSpPr txBox="1"/>
          <p:nvPr/>
        </p:nvSpPr>
        <p:spPr>
          <a:xfrm>
            <a:off x="3428075" y="5244454"/>
            <a:ext cx="729394" cy="584775"/>
          </a:xfrm>
          <a:prstGeom prst="rect">
            <a:avLst/>
          </a:prstGeom>
          <a:solidFill>
            <a:srgbClr val="EDB638"/>
          </a:solidFill>
          <a:ln w="127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>
              <a:defRPr sz="2400"/>
            </a:lvl1pPr>
          </a:lstStyle>
          <a:p>
            <a:r>
              <a:rPr lang="en-US" sz="3200"/>
              <a:t>….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4831776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BB1792E3-2EB0-43CA-A3A3-B8F35D0CF7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362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8D6402-2728-242C-1FC6-9808BD6AA7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7A2E84F-03F1-4B20-C6AE-2113ACDA613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40" y="1104900"/>
            <a:ext cx="11653520" cy="4838700"/>
          </a:xfrm>
        </p:spPr>
        <p:txBody>
          <a:bodyPr/>
          <a:lstStyle/>
          <a:p>
            <a:r>
              <a:rPr lang="de-DE" dirty="0"/>
              <a:t>MTCA.4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ouble Mid-size AMC </a:t>
            </a:r>
            <a:r>
              <a:rPr lang="de-DE" dirty="0" err="1"/>
              <a:t>modul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4 HP </a:t>
            </a:r>
            <a:r>
              <a:rPr lang="de-DE" dirty="0" err="1"/>
              <a:t>width</a:t>
            </a:r>
            <a:endParaRPr lang="de-DE" dirty="0"/>
          </a:p>
          <a:p>
            <a:r>
              <a:rPr lang="de-DE" dirty="0"/>
              <a:t>With </a:t>
            </a:r>
            <a:r>
              <a:rPr lang="de-DE" dirty="0" err="1"/>
              <a:t>this</a:t>
            </a:r>
            <a:r>
              <a:rPr lang="de-DE" dirty="0"/>
              <a:t>, 12 </a:t>
            </a:r>
            <a:r>
              <a:rPr lang="de-DE" dirty="0" err="1"/>
              <a:t>AMC‘s</a:t>
            </a:r>
            <a:r>
              <a:rPr lang="de-DE" dirty="0"/>
              <a:t> + 2 </a:t>
            </a:r>
            <a:r>
              <a:rPr lang="de-DE" dirty="0" err="1"/>
              <a:t>MCH‘s</a:t>
            </a:r>
            <a:r>
              <a:rPr lang="de-DE" dirty="0"/>
              <a:t> and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4 </a:t>
            </a:r>
            <a:r>
              <a:rPr lang="de-DE" dirty="0" err="1"/>
              <a:t>PM‘s</a:t>
            </a:r>
            <a:r>
              <a:rPr lang="de-DE" dirty="0"/>
              <a:t> fit </a:t>
            </a:r>
            <a:r>
              <a:rPr lang="de-DE" dirty="0" err="1"/>
              <a:t>into</a:t>
            </a:r>
            <a:r>
              <a:rPr lang="de-DE" dirty="0"/>
              <a:t> a 19“ (84 HP) </a:t>
            </a:r>
            <a:r>
              <a:rPr lang="de-DE" dirty="0" err="1"/>
              <a:t>card</a:t>
            </a:r>
            <a:r>
              <a:rPr lang="de-DE" dirty="0"/>
              <a:t> </a:t>
            </a:r>
            <a:r>
              <a:rPr lang="de-DE" dirty="0" err="1"/>
              <a:t>cage</a:t>
            </a:r>
            <a:endParaRPr lang="de-DE" dirty="0"/>
          </a:p>
          <a:p>
            <a:r>
              <a:rPr lang="en-US" dirty="0"/>
              <a:t>The RTM section can be populated with 12 AMC RTM’s + 2 MCH RTM’s and up to 4 RPM’s</a:t>
            </a:r>
          </a:p>
          <a:p>
            <a:r>
              <a:rPr lang="en-US" dirty="0"/>
              <a:t>JSM can be placed outside the card ca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6D97D3-885E-C0E4-E2CF-EB864DAF42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215481D-F3BB-38F4-57AA-97D271035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TCA.4 &amp; MTCA.4.1 </a:t>
            </a:r>
            <a:r>
              <a:rPr lang="de-DE" dirty="0" err="1"/>
              <a:t>Crates</a:t>
            </a:r>
            <a:endParaRPr lang="en-US" dirty="0"/>
          </a:p>
        </p:txBody>
      </p:sp>
      <p:pic>
        <p:nvPicPr>
          <p:cNvPr id="161" name="Inhaltsplatzhalter 160">
            <a:extLst>
              <a:ext uri="{FF2B5EF4-FFF2-40B4-BE49-F238E27FC236}">
                <a16:creationId xmlns:a16="http://schemas.microsoft.com/office/drawing/2014/main" id="{CAF9C5AD-4264-DF24-DF58-F6D6BC2EBF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2913" y="2733263"/>
            <a:ext cx="4819135" cy="3582097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D7C69D1D-E894-F6EC-959D-447182467CDE}"/>
              </a:ext>
            </a:extLst>
          </p:cNvPr>
          <p:cNvSpPr txBox="1"/>
          <p:nvPr/>
        </p:nvSpPr>
        <p:spPr>
          <a:xfrm>
            <a:off x="269239" y="2706177"/>
            <a:ext cx="730002" cy="331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>
                <a:solidFill>
                  <a:schemeClr val="tx1"/>
                </a:solidFill>
              </a:rPr>
              <a:t>Front</a:t>
            </a:r>
          </a:p>
          <a:p>
            <a:r>
              <a:rPr lang="de-DE" sz="1400" dirty="0">
                <a:solidFill>
                  <a:schemeClr val="tx1"/>
                </a:solidFill>
              </a:rPr>
              <a:t>View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DDB8FFA-6377-F8D6-7C48-CFB6FB97B3E8}"/>
              </a:ext>
            </a:extLst>
          </p:cNvPr>
          <p:cNvSpPr txBox="1"/>
          <p:nvPr/>
        </p:nvSpPr>
        <p:spPr>
          <a:xfrm>
            <a:off x="6365846" y="2706177"/>
            <a:ext cx="730002" cy="331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err="1">
                <a:solidFill>
                  <a:schemeClr val="tx1"/>
                </a:solidFill>
              </a:rPr>
              <a:t>Rear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</a:p>
          <a:p>
            <a:r>
              <a:rPr lang="de-DE" sz="1400" dirty="0">
                <a:solidFill>
                  <a:schemeClr val="tx1"/>
                </a:solidFill>
              </a:rPr>
              <a:t>View</a:t>
            </a:r>
          </a:p>
        </p:txBody>
      </p:sp>
      <p:pic>
        <p:nvPicPr>
          <p:cNvPr id="316" name="Grafik 315">
            <a:extLst>
              <a:ext uri="{FF2B5EF4-FFF2-40B4-BE49-F238E27FC236}">
                <a16:creationId xmlns:a16="http://schemas.microsoft.com/office/drawing/2014/main" id="{506C9EFB-1CDD-2C2D-E5F6-1CBE9500BA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7236" y="2733263"/>
            <a:ext cx="4819135" cy="3642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6138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10F4C29-A6AC-0DA4-1018-75ED54807F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2DAC8DD-4B4F-1170-214F-E750C6768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MTCA @ Quantum Control Systems</a:t>
            </a:r>
            <a:endParaRPr lang="en-US" dirty="0"/>
          </a:p>
        </p:txBody>
      </p:sp>
      <p:sp>
        <p:nvSpPr>
          <p:cNvPr id="163" name="Inhaltsplatzhalter 162">
            <a:extLst>
              <a:ext uri="{FF2B5EF4-FFF2-40B4-BE49-F238E27FC236}">
                <a16:creationId xmlns:a16="http://schemas.microsoft.com/office/drawing/2014/main" id="{7060065A-7291-E432-496F-877FB61F31B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8315689" cy="5107364"/>
          </a:xfrm>
        </p:spPr>
        <p:txBody>
          <a:bodyPr/>
          <a:lstStyle/>
          <a:p>
            <a:pPr>
              <a:spcBef>
                <a:spcPts val="2400"/>
              </a:spcBef>
            </a:pPr>
            <a:r>
              <a:rPr lang="en-US" noProof="0" dirty="0"/>
              <a:t>MTCA is used as room temperature equipment of Quantum Computing systems. It‘s part of the Control System of the Quantum Computer</a:t>
            </a:r>
          </a:p>
          <a:p>
            <a:pPr>
              <a:spcBef>
                <a:spcPts val="2400"/>
              </a:spcBef>
            </a:pPr>
            <a:r>
              <a:rPr lang="en-US" noProof="0" dirty="0"/>
              <a:t>The maximum number of AMC modules - 12 - is mandatory</a:t>
            </a:r>
          </a:p>
          <a:p>
            <a:pPr>
              <a:spcBef>
                <a:spcPts val="2400"/>
              </a:spcBef>
            </a:pPr>
            <a:r>
              <a:rPr lang="en-US" noProof="0" dirty="0"/>
              <a:t>For analogue signals AMC RTM‘s are essential, some applications need in addition a rear backplane </a:t>
            </a:r>
          </a:p>
          <a:p>
            <a:pPr>
              <a:spcBef>
                <a:spcPts val="2400"/>
              </a:spcBef>
            </a:pPr>
            <a:r>
              <a:rPr lang="en-US" noProof="0" dirty="0"/>
              <a:t>The preferred size of the AMC‘s and RTM‘s is Double</a:t>
            </a:r>
            <a:r>
              <a:rPr lang="en-US" b="1" noProof="0" dirty="0"/>
              <a:t> Full-size</a:t>
            </a:r>
          </a:p>
          <a:p>
            <a:pPr>
              <a:spcBef>
                <a:spcPts val="2400"/>
              </a:spcBef>
            </a:pPr>
            <a:r>
              <a:rPr lang="en-US" noProof="0" dirty="0"/>
              <a:t>Some users demand &gt; 80 W per AMC</a:t>
            </a:r>
          </a:p>
          <a:p>
            <a:pPr>
              <a:spcBef>
                <a:spcPts val="2400"/>
              </a:spcBef>
            </a:pPr>
            <a:r>
              <a:rPr lang="en-US" noProof="0" dirty="0"/>
              <a:t>Depending on the architecture and transfer protocol, 1 or 2 MCH‘s</a:t>
            </a:r>
          </a:p>
          <a:p>
            <a:pPr>
              <a:spcBef>
                <a:spcPts val="2400"/>
              </a:spcBef>
            </a:pPr>
            <a:r>
              <a:rPr lang="en-US" noProof="0" dirty="0"/>
              <a:t>Minimum 1400 W (MTCA.0 Rev. 3.0), redundancy optional</a:t>
            </a:r>
          </a:p>
          <a:p>
            <a:pPr>
              <a:lnSpc>
                <a:spcPct val="150000"/>
              </a:lnSpc>
              <a:spcBef>
                <a:spcPts val="2400"/>
              </a:spcBef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noProof="0" dirty="0">
                <a:solidFill>
                  <a:srgbClr val="C00000"/>
                </a:solidFill>
              </a:rPr>
              <a:t>Needs a new Crate architecture</a:t>
            </a:r>
          </a:p>
          <a:p>
            <a:pPr>
              <a:spcBef>
                <a:spcPts val="2400"/>
              </a:spcBef>
            </a:pPr>
            <a:endParaRPr lang="de-DE" dirty="0"/>
          </a:p>
          <a:p>
            <a:pPr>
              <a:spcBef>
                <a:spcPts val="2400"/>
              </a:spcBef>
            </a:pPr>
            <a:endParaRPr lang="en-US" dirty="0"/>
          </a:p>
        </p:txBody>
      </p:sp>
      <p:pic>
        <p:nvPicPr>
          <p:cNvPr id="164" name="Grafik 163">
            <a:extLst>
              <a:ext uri="{FF2B5EF4-FFF2-40B4-BE49-F238E27FC236}">
                <a16:creationId xmlns:a16="http://schemas.microsoft.com/office/drawing/2014/main" id="{1E151F92-D026-A008-74C7-FDA9787852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9923" y="855403"/>
            <a:ext cx="3077852" cy="3077852"/>
          </a:xfrm>
          <a:prstGeom prst="rect">
            <a:avLst/>
          </a:prstGeom>
        </p:spPr>
      </p:pic>
      <p:pic>
        <p:nvPicPr>
          <p:cNvPr id="165" name="Grafik 164">
            <a:extLst>
              <a:ext uri="{FF2B5EF4-FFF2-40B4-BE49-F238E27FC236}">
                <a16:creationId xmlns:a16="http://schemas.microsoft.com/office/drawing/2014/main" id="{53E86EB4-D603-DD3A-EF80-8611920804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4928" y="3243183"/>
            <a:ext cx="3207842" cy="320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021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Inhaltsplatzhalter 162">
            <a:extLst>
              <a:ext uri="{FF2B5EF4-FFF2-40B4-BE49-F238E27FC236}">
                <a16:creationId xmlns:a16="http://schemas.microsoft.com/office/drawing/2014/main" id="{36FEEE18-0A3F-21CA-1D5B-E1AAB250631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5107364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de-DE" dirty="0"/>
              <a:t>12 Double </a:t>
            </a:r>
            <a:r>
              <a:rPr lang="de-DE" dirty="0" err="1"/>
              <a:t>Full</a:t>
            </a:r>
            <a:r>
              <a:rPr lang="de-DE" dirty="0"/>
              <a:t>-size (6 HP </a:t>
            </a:r>
            <a:r>
              <a:rPr lang="de-DE" dirty="0" err="1"/>
              <a:t>width</a:t>
            </a:r>
            <a:r>
              <a:rPr lang="de-DE" dirty="0"/>
              <a:t>) AMC Modules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occupy</a:t>
            </a:r>
            <a:r>
              <a:rPr lang="de-DE" dirty="0"/>
              <a:t> 72 HP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pace</a:t>
            </a:r>
            <a:endParaRPr lang="de-DE" dirty="0"/>
          </a:p>
          <a:p>
            <a:pPr>
              <a:spcBef>
                <a:spcPts val="1200"/>
              </a:spcBef>
            </a:pPr>
            <a:r>
              <a:rPr lang="de-DE" dirty="0" err="1"/>
              <a:t>Only</a:t>
            </a:r>
            <a:r>
              <a:rPr lang="de-DE" dirty="0"/>
              <a:t> 2 </a:t>
            </a:r>
            <a:r>
              <a:rPr lang="de-DE" dirty="0" err="1"/>
              <a:t>Full</a:t>
            </a:r>
            <a:r>
              <a:rPr lang="de-DE" dirty="0"/>
              <a:t>-size </a:t>
            </a:r>
            <a:r>
              <a:rPr lang="de-DE" dirty="0" err="1"/>
              <a:t>slots</a:t>
            </a:r>
            <a:r>
              <a:rPr lang="de-DE" dirty="0"/>
              <a:t>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MCH and PM</a:t>
            </a:r>
          </a:p>
          <a:p>
            <a:pPr lvl="1">
              <a:spcBef>
                <a:spcPts val="1200"/>
              </a:spcBef>
            </a:pPr>
            <a:r>
              <a:rPr lang="de-DE" dirty="0" err="1"/>
              <a:t>Either</a:t>
            </a:r>
            <a:r>
              <a:rPr lang="de-DE" dirty="0"/>
              <a:t> 1x Double </a:t>
            </a:r>
            <a:r>
              <a:rPr lang="de-DE" dirty="0" err="1"/>
              <a:t>Full</a:t>
            </a:r>
            <a:r>
              <a:rPr lang="de-DE" dirty="0"/>
              <a:t>-size PM and 1x Double </a:t>
            </a:r>
            <a:r>
              <a:rPr lang="de-DE" dirty="0" err="1"/>
              <a:t>Full</a:t>
            </a:r>
            <a:r>
              <a:rPr lang="de-DE" dirty="0"/>
              <a:t>-size MCH</a:t>
            </a:r>
          </a:p>
          <a:p>
            <a:pPr lvl="1">
              <a:spcBef>
                <a:spcPts val="1200"/>
              </a:spcBef>
            </a:pPr>
            <a:r>
              <a:rPr lang="de-DE" dirty="0" err="1"/>
              <a:t>Or</a:t>
            </a:r>
            <a:r>
              <a:rPr lang="de-DE" dirty="0"/>
              <a:t> 2x Single </a:t>
            </a:r>
            <a:r>
              <a:rPr lang="de-DE" dirty="0" err="1"/>
              <a:t>Full</a:t>
            </a:r>
            <a:r>
              <a:rPr lang="de-DE" dirty="0"/>
              <a:t>-size PM and 2x Single </a:t>
            </a:r>
            <a:r>
              <a:rPr lang="de-DE" dirty="0" err="1"/>
              <a:t>Full</a:t>
            </a:r>
            <a:r>
              <a:rPr lang="de-DE" dirty="0"/>
              <a:t>-size MCH</a:t>
            </a:r>
          </a:p>
          <a:p>
            <a:pPr>
              <a:spcBef>
                <a:spcPts val="2400"/>
              </a:spcBef>
            </a:pPr>
            <a:endParaRPr lang="de-DE" dirty="0"/>
          </a:p>
          <a:p>
            <a:pPr>
              <a:spcBef>
                <a:spcPts val="2400"/>
              </a:spcBef>
            </a:pP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D859087-44FA-03AC-7811-624A2E13E1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38F0B61-7437-0FC2-7D35-DFA70D2FE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ont-Layout </a:t>
            </a:r>
            <a:r>
              <a:rPr lang="de-DE" dirty="0" err="1"/>
              <a:t>of</a:t>
            </a:r>
            <a:r>
              <a:rPr lang="de-DE" dirty="0"/>
              <a:t> 19“ </a:t>
            </a:r>
            <a:r>
              <a:rPr lang="de-DE" dirty="0" err="1"/>
              <a:t>Crat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12 Double </a:t>
            </a:r>
            <a:r>
              <a:rPr lang="de-DE" dirty="0" err="1"/>
              <a:t>Full</a:t>
            </a:r>
            <a:r>
              <a:rPr lang="de-DE" dirty="0"/>
              <a:t>-size AMC Modules</a:t>
            </a:r>
            <a:endParaRPr lang="en-US" dirty="0"/>
          </a:p>
        </p:txBody>
      </p: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FDAD2868-F30E-3D98-0EE8-A689FA80057E}"/>
              </a:ext>
            </a:extLst>
          </p:cNvPr>
          <p:cNvGrpSpPr/>
          <p:nvPr/>
        </p:nvGrpSpPr>
        <p:grpSpPr>
          <a:xfrm>
            <a:off x="2993109" y="3161524"/>
            <a:ext cx="5163271" cy="3025298"/>
            <a:chOff x="518251" y="2328279"/>
            <a:chExt cx="5163271" cy="3025298"/>
          </a:xfrm>
        </p:grpSpPr>
        <p:pic>
          <p:nvPicPr>
            <p:cNvPr id="91" name="Grafik 90">
              <a:extLst>
                <a:ext uri="{FF2B5EF4-FFF2-40B4-BE49-F238E27FC236}">
                  <a16:creationId xmlns:a16="http://schemas.microsoft.com/office/drawing/2014/main" id="{45E40B9E-46A7-107F-55D9-EB97A9796A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8251" y="2328279"/>
              <a:ext cx="5163271" cy="2514951"/>
            </a:xfrm>
            <a:prstGeom prst="rect">
              <a:avLst/>
            </a:prstGeom>
          </p:spPr>
        </p:pic>
        <p:grpSp>
          <p:nvGrpSpPr>
            <p:cNvPr id="129" name="Gruppieren 128">
              <a:extLst>
                <a:ext uri="{FF2B5EF4-FFF2-40B4-BE49-F238E27FC236}">
                  <a16:creationId xmlns:a16="http://schemas.microsoft.com/office/drawing/2014/main" id="{9E016F10-C1D0-8511-BAA4-7EE2FA15DBF7}"/>
                </a:ext>
              </a:extLst>
            </p:cNvPr>
            <p:cNvGrpSpPr/>
            <p:nvPr/>
          </p:nvGrpSpPr>
          <p:grpSpPr>
            <a:xfrm>
              <a:off x="518251" y="4763587"/>
              <a:ext cx="5098869" cy="589990"/>
              <a:chOff x="518251" y="4763587"/>
              <a:chExt cx="5098869" cy="589990"/>
            </a:xfrm>
          </p:grpSpPr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D2416D14-434D-AF82-4C18-79E706F16DCE}"/>
                  </a:ext>
                </a:extLst>
              </p:cNvPr>
              <p:cNvCxnSpPr/>
              <p:nvPr/>
            </p:nvCxnSpPr>
            <p:spPr>
              <a:xfrm>
                <a:off x="526960" y="4763587"/>
                <a:ext cx="0" cy="409303"/>
              </a:xfrm>
              <a:prstGeom prst="line">
                <a:avLst/>
              </a:prstGeom>
              <a:ln>
                <a:solidFill>
                  <a:srgbClr val="C00000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Gerader Verbinder 94">
                <a:extLst>
                  <a:ext uri="{FF2B5EF4-FFF2-40B4-BE49-F238E27FC236}">
                    <a16:creationId xmlns:a16="http://schemas.microsoft.com/office/drawing/2014/main" id="{3C8A96A9-D67E-0D03-5459-5557CA907176}"/>
                  </a:ext>
                </a:extLst>
              </p:cNvPr>
              <p:cNvCxnSpPr/>
              <p:nvPr/>
            </p:nvCxnSpPr>
            <p:spPr>
              <a:xfrm>
                <a:off x="5617120" y="4764849"/>
                <a:ext cx="0" cy="409303"/>
              </a:xfrm>
              <a:prstGeom prst="line">
                <a:avLst/>
              </a:prstGeom>
              <a:ln>
                <a:solidFill>
                  <a:srgbClr val="C00000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Gerade Verbindung mit Pfeil 96">
                <a:extLst>
                  <a:ext uri="{FF2B5EF4-FFF2-40B4-BE49-F238E27FC236}">
                    <a16:creationId xmlns:a16="http://schemas.microsoft.com/office/drawing/2014/main" id="{BEE5B835-7CDA-1358-A4A8-519E23F572EC}"/>
                  </a:ext>
                </a:extLst>
              </p:cNvPr>
              <p:cNvCxnSpPr/>
              <p:nvPr/>
            </p:nvCxnSpPr>
            <p:spPr>
              <a:xfrm>
                <a:off x="518251" y="4968238"/>
                <a:ext cx="5098869" cy="0"/>
              </a:xfrm>
              <a:prstGeom prst="straightConnector1">
                <a:avLst/>
              </a:prstGeom>
              <a:ln>
                <a:solidFill>
                  <a:srgbClr val="C00000"/>
                </a:solidFill>
                <a:headEnd type="triangle" w="lg" len="lg"/>
                <a:tailEnd type="triangle" w="lg" len="lg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8" name="Textfeld 97">
                <a:extLst>
                  <a:ext uri="{FF2B5EF4-FFF2-40B4-BE49-F238E27FC236}">
                    <a16:creationId xmlns:a16="http://schemas.microsoft.com/office/drawing/2014/main" id="{8A59D552-FCEB-A1A8-CDDC-CA89A7EF19B8}"/>
                  </a:ext>
                </a:extLst>
              </p:cNvPr>
              <p:cNvSpPr txBox="1"/>
              <p:nvPr/>
            </p:nvSpPr>
            <p:spPr>
              <a:xfrm>
                <a:off x="2732405" y="5005237"/>
                <a:ext cx="670560" cy="3483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400" b="1" dirty="0">
                    <a:solidFill>
                      <a:srgbClr val="C00000"/>
                    </a:solidFill>
                  </a:rPr>
                  <a:t>72 HP</a:t>
                </a:r>
                <a:endParaRPr lang="en-US" sz="1400" b="1" dirty="0" err="1">
                  <a:solidFill>
                    <a:srgbClr val="C00000"/>
                  </a:solidFill>
                </a:endParaRPr>
              </a:p>
            </p:txBody>
          </p:sp>
        </p:grpSp>
      </p:grp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5EDA23A3-633E-7668-6D31-899F5D40F5DC}"/>
              </a:ext>
            </a:extLst>
          </p:cNvPr>
          <p:cNvGrpSpPr/>
          <p:nvPr/>
        </p:nvGrpSpPr>
        <p:grpSpPr>
          <a:xfrm>
            <a:off x="304800" y="5627117"/>
            <a:ext cx="857796" cy="576237"/>
            <a:chOff x="518251" y="5229495"/>
            <a:chExt cx="857796" cy="576237"/>
          </a:xfrm>
        </p:grpSpPr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175B2180-36F0-2DAA-34FA-9F0E1E778D7C}"/>
                </a:ext>
              </a:extLst>
            </p:cNvPr>
            <p:cNvGrpSpPr/>
            <p:nvPr/>
          </p:nvGrpSpPr>
          <p:grpSpPr>
            <a:xfrm>
              <a:off x="518251" y="5229495"/>
              <a:ext cx="857796" cy="409304"/>
              <a:chOff x="518251" y="5229495"/>
              <a:chExt cx="857796" cy="409304"/>
            </a:xfrm>
          </p:grpSpPr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5A46E727-5A0E-5287-E971-34C6E395EB54}"/>
                  </a:ext>
                </a:extLst>
              </p:cNvPr>
              <p:cNvCxnSpPr/>
              <p:nvPr/>
            </p:nvCxnSpPr>
            <p:spPr>
              <a:xfrm>
                <a:off x="526960" y="5229496"/>
                <a:ext cx="0" cy="409303"/>
              </a:xfrm>
              <a:prstGeom prst="line">
                <a:avLst/>
              </a:prstGeom>
              <a:ln>
                <a:solidFill>
                  <a:srgbClr val="C00000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7D2CE334-15F2-6EDE-57ED-34648B0E243D}"/>
                  </a:ext>
                </a:extLst>
              </p:cNvPr>
              <p:cNvCxnSpPr/>
              <p:nvPr/>
            </p:nvCxnSpPr>
            <p:spPr>
              <a:xfrm>
                <a:off x="1376047" y="5229495"/>
                <a:ext cx="0" cy="409303"/>
              </a:xfrm>
              <a:prstGeom prst="line">
                <a:avLst/>
              </a:prstGeom>
              <a:ln>
                <a:solidFill>
                  <a:srgbClr val="C00000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 Verbindung mit Pfeil 100">
                <a:extLst>
                  <a:ext uri="{FF2B5EF4-FFF2-40B4-BE49-F238E27FC236}">
                    <a16:creationId xmlns:a16="http://schemas.microsoft.com/office/drawing/2014/main" id="{245B16CE-E5C5-E0F7-D3D0-EF189051CC5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8251" y="5434147"/>
                <a:ext cx="857796" cy="0"/>
              </a:xfrm>
              <a:prstGeom prst="straightConnector1">
                <a:avLst/>
              </a:prstGeom>
              <a:ln>
                <a:solidFill>
                  <a:srgbClr val="C00000"/>
                </a:solidFill>
                <a:headEnd type="triangle" w="lg" len="lg"/>
                <a:tailEnd type="triangle" w="lg" len="lg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4" name="Textfeld 103">
              <a:extLst>
                <a:ext uri="{FF2B5EF4-FFF2-40B4-BE49-F238E27FC236}">
                  <a16:creationId xmlns:a16="http://schemas.microsoft.com/office/drawing/2014/main" id="{B87FB751-DE04-F073-67A5-904999F9355F}"/>
                </a:ext>
              </a:extLst>
            </p:cNvPr>
            <p:cNvSpPr txBox="1"/>
            <p:nvPr/>
          </p:nvSpPr>
          <p:spPr>
            <a:xfrm>
              <a:off x="598760" y="5457392"/>
              <a:ext cx="670560" cy="3483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400" b="1" dirty="0">
                  <a:solidFill>
                    <a:srgbClr val="C00000"/>
                  </a:solidFill>
                </a:rPr>
                <a:t>12 HP</a:t>
              </a:r>
              <a:endParaRPr lang="en-US" sz="1400" b="1" dirty="0" err="1">
                <a:solidFill>
                  <a:srgbClr val="C00000"/>
                </a:solidFill>
              </a:endParaRPr>
            </a:p>
          </p:txBody>
        </p:sp>
      </p:grpSp>
      <p:pic>
        <p:nvPicPr>
          <p:cNvPr id="113" name="Grafik 112">
            <a:extLst>
              <a:ext uri="{FF2B5EF4-FFF2-40B4-BE49-F238E27FC236}">
                <a16:creationId xmlns:a16="http://schemas.microsoft.com/office/drawing/2014/main" id="{5908EB47-3F8C-89B4-FCD3-EDA8A8414E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3161524"/>
            <a:ext cx="914528" cy="2514951"/>
          </a:xfrm>
          <a:prstGeom prst="rect">
            <a:avLst/>
          </a:prstGeom>
        </p:spPr>
      </p:pic>
      <p:pic>
        <p:nvPicPr>
          <p:cNvPr id="128" name="Grafik 127">
            <a:extLst>
              <a:ext uri="{FF2B5EF4-FFF2-40B4-BE49-F238E27FC236}">
                <a16:creationId xmlns:a16="http://schemas.microsoft.com/office/drawing/2014/main" id="{BDA9D416-433C-EF63-98B5-A288D627DC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1063" y="3178056"/>
            <a:ext cx="933580" cy="2524477"/>
          </a:xfrm>
          <a:prstGeom prst="rect">
            <a:avLst/>
          </a:prstGeom>
        </p:spPr>
      </p:pic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1926F471-675E-36CB-52A3-8CD9A563D3C0}"/>
              </a:ext>
            </a:extLst>
          </p:cNvPr>
          <p:cNvGrpSpPr/>
          <p:nvPr/>
        </p:nvGrpSpPr>
        <p:grpSpPr>
          <a:xfrm>
            <a:off x="1611062" y="5636027"/>
            <a:ext cx="857796" cy="576237"/>
            <a:chOff x="518251" y="5229495"/>
            <a:chExt cx="857796" cy="576237"/>
          </a:xfrm>
        </p:grpSpPr>
        <p:grpSp>
          <p:nvGrpSpPr>
            <p:cNvPr id="132" name="Gruppieren 131">
              <a:extLst>
                <a:ext uri="{FF2B5EF4-FFF2-40B4-BE49-F238E27FC236}">
                  <a16:creationId xmlns:a16="http://schemas.microsoft.com/office/drawing/2014/main" id="{5433A4ED-CAB0-4F2D-64C0-56A111F5DEC9}"/>
                </a:ext>
              </a:extLst>
            </p:cNvPr>
            <p:cNvGrpSpPr/>
            <p:nvPr/>
          </p:nvGrpSpPr>
          <p:grpSpPr>
            <a:xfrm>
              <a:off x="518251" y="5229495"/>
              <a:ext cx="857796" cy="409304"/>
              <a:chOff x="518251" y="5229495"/>
              <a:chExt cx="857796" cy="409304"/>
            </a:xfrm>
          </p:grpSpPr>
          <p:cxnSp>
            <p:nvCxnSpPr>
              <p:cNvPr id="134" name="Gerader Verbinder 133">
                <a:extLst>
                  <a:ext uri="{FF2B5EF4-FFF2-40B4-BE49-F238E27FC236}">
                    <a16:creationId xmlns:a16="http://schemas.microsoft.com/office/drawing/2014/main" id="{7C2FC50A-D418-2392-545F-1BED658F9CEB}"/>
                  </a:ext>
                </a:extLst>
              </p:cNvPr>
              <p:cNvCxnSpPr/>
              <p:nvPr/>
            </p:nvCxnSpPr>
            <p:spPr>
              <a:xfrm>
                <a:off x="526960" y="5229496"/>
                <a:ext cx="0" cy="409303"/>
              </a:xfrm>
              <a:prstGeom prst="line">
                <a:avLst/>
              </a:prstGeom>
              <a:ln>
                <a:solidFill>
                  <a:srgbClr val="C00000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r Verbinder 134">
                <a:extLst>
                  <a:ext uri="{FF2B5EF4-FFF2-40B4-BE49-F238E27FC236}">
                    <a16:creationId xmlns:a16="http://schemas.microsoft.com/office/drawing/2014/main" id="{3A1CCCAA-691D-2418-B162-24EC5D115CB9}"/>
                  </a:ext>
                </a:extLst>
              </p:cNvPr>
              <p:cNvCxnSpPr/>
              <p:nvPr/>
            </p:nvCxnSpPr>
            <p:spPr>
              <a:xfrm>
                <a:off x="1376047" y="5229495"/>
                <a:ext cx="0" cy="409303"/>
              </a:xfrm>
              <a:prstGeom prst="line">
                <a:avLst/>
              </a:prstGeom>
              <a:ln>
                <a:solidFill>
                  <a:srgbClr val="C00000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mit Pfeil 135">
                <a:extLst>
                  <a:ext uri="{FF2B5EF4-FFF2-40B4-BE49-F238E27FC236}">
                    <a16:creationId xmlns:a16="http://schemas.microsoft.com/office/drawing/2014/main" id="{014675AC-A3D2-916C-03C9-CAC538B680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8251" y="5434147"/>
                <a:ext cx="857796" cy="0"/>
              </a:xfrm>
              <a:prstGeom prst="straightConnector1">
                <a:avLst/>
              </a:prstGeom>
              <a:ln>
                <a:solidFill>
                  <a:srgbClr val="C00000"/>
                </a:solidFill>
                <a:headEnd type="triangle" w="lg" len="lg"/>
                <a:tailEnd type="triangle" w="lg" len="lg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3" name="Textfeld 132">
              <a:extLst>
                <a:ext uri="{FF2B5EF4-FFF2-40B4-BE49-F238E27FC236}">
                  <a16:creationId xmlns:a16="http://schemas.microsoft.com/office/drawing/2014/main" id="{3BAB09D2-C536-EA4A-3883-1F3D438DF8E9}"/>
                </a:ext>
              </a:extLst>
            </p:cNvPr>
            <p:cNvSpPr txBox="1"/>
            <p:nvPr/>
          </p:nvSpPr>
          <p:spPr>
            <a:xfrm>
              <a:off x="598760" y="5457392"/>
              <a:ext cx="670560" cy="3483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400" b="1" dirty="0">
                  <a:solidFill>
                    <a:srgbClr val="C00000"/>
                  </a:solidFill>
                </a:rPr>
                <a:t>12 HP</a:t>
              </a:r>
              <a:endParaRPr lang="en-US" sz="1400" b="1" dirty="0" err="1">
                <a:solidFill>
                  <a:srgbClr val="C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76034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A3DF3C-E5CA-F244-34F4-23BF7CD14A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Inhaltsplatzhalter 162">
            <a:extLst>
              <a:ext uri="{FF2B5EF4-FFF2-40B4-BE49-F238E27FC236}">
                <a16:creationId xmlns:a16="http://schemas.microsoft.com/office/drawing/2014/main" id="{9F7B0F24-D157-CBD5-21BF-9471AB4D241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40" y="1104900"/>
            <a:ext cx="7811051" cy="5107364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de-DE" dirty="0"/>
              <a:t>12 Double </a:t>
            </a:r>
            <a:r>
              <a:rPr lang="de-DE" dirty="0" err="1"/>
              <a:t>Full</a:t>
            </a:r>
            <a:r>
              <a:rPr lang="de-DE" dirty="0"/>
              <a:t>-size (6 HP </a:t>
            </a:r>
            <a:r>
              <a:rPr lang="de-DE" dirty="0" err="1"/>
              <a:t>width</a:t>
            </a:r>
            <a:r>
              <a:rPr lang="de-DE" dirty="0"/>
              <a:t>) </a:t>
            </a:r>
            <a:r>
              <a:rPr lang="de-DE" dirty="0" err="1"/>
              <a:t>RTM‘s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occupy</a:t>
            </a:r>
            <a:r>
              <a:rPr lang="de-DE" dirty="0"/>
              <a:t> 72 HP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pace</a:t>
            </a:r>
            <a:endParaRPr lang="de-DE" dirty="0"/>
          </a:p>
          <a:p>
            <a:pPr>
              <a:spcBef>
                <a:spcPts val="1200"/>
              </a:spcBef>
            </a:pP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2 </a:t>
            </a:r>
            <a:r>
              <a:rPr lang="de-DE" dirty="0" err="1"/>
              <a:t>Full</a:t>
            </a:r>
            <a:r>
              <a:rPr lang="de-DE" dirty="0"/>
              <a:t>-size </a:t>
            </a:r>
            <a:r>
              <a:rPr lang="de-DE" dirty="0" err="1"/>
              <a:t>slots</a:t>
            </a:r>
            <a:r>
              <a:rPr lang="de-DE" dirty="0"/>
              <a:t> </a:t>
            </a:r>
            <a:r>
              <a:rPr lang="de-DE" dirty="0" err="1"/>
              <a:t>behi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CH and PM </a:t>
            </a:r>
            <a:r>
              <a:rPr lang="de-DE" dirty="0" err="1"/>
              <a:t>left</a:t>
            </a:r>
            <a:endParaRPr lang="de-DE" dirty="0"/>
          </a:p>
          <a:p>
            <a:pPr lvl="1"/>
            <a:r>
              <a:rPr lang="de-DE" dirty="0"/>
              <a:t>With Double Front Modules, </a:t>
            </a:r>
            <a:r>
              <a:rPr lang="de-DE" dirty="0" err="1"/>
              <a:t>RTM‘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possible</a:t>
            </a:r>
          </a:p>
          <a:p>
            <a:pPr lvl="1"/>
            <a:r>
              <a:rPr lang="de-DE" dirty="0"/>
              <a:t>Single Module </a:t>
            </a:r>
            <a:r>
              <a:rPr lang="de-DE" dirty="0" err="1"/>
              <a:t>connectors</a:t>
            </a:r>
            <a:r>
              <a:rPr lang="de-DE" dirty="0"/>
              <a:t> </a:t>
            </a:r>
            <a:r>
              <a:rPr lang="de-DE" dirty="0" err="1"/>
              <a:t>cover</a:t>
            </a:r>
            <a:r>
              <a:rPr lang="de-DE" dirty="0"/>
              <a:t> all </a:t>
            </a:r>
            <a:r>
              <a:rPr lang="de-DE" dirty="0" err="1"/>
              <a:t>space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backplane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RTM`s</a:t>
            </a:r>
            <a:endParaRPr lang="de-DE" dirty="0"/>
          </a:p>
          <a:p>
            <a:pPr>
              <a:spcBef>
                <a:spcPts val="2400"/>
              </a:spcBef>
            </a:pPr>
            <a:endParaRPr lang="de-DE" dirty="0"/>
          </a:p>
          <a:p>
            <a:pPr>
              <a:spcBef>
                <a:spcPts val="2400"/>
              </a:spcBef>
            </a:pP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7E337BD-7D8B-8137-E653-55DF569C49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AB7FC72-1702-E419-EAF0-270928F47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r</a:t>
            </a:r>
            <a:r>
              <a:rPr lang="de-DE" dirty="0"/>
              <a:t>-Layout </a:t>
            </a:r>
            <a:r>
              <a:rPr lang="de-DE" dirty="0" err="1"/>
              <a:t>of</a:t>
            </a:r>
            <a:r>
              <a:rPr lang="de-DE" dirty="0"/>
              <a:t> 19“ </a:t>
            </a:r>
            <a:r>
              <a:rPr lang="de-DE" dirty="0" err="1"/>
              <a:t>Crat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12 Double </a:t>
            </a:r>
            <a:r>
              <a:rPr lang="de-DE" dirty="0" err="1"/>
              <a:t>Full</a:t>
            </a:r>
            <a:r>
              <a:rPr lang="de-DE" dirty="0"/>
              <a:t>-size AMC Modules</a:t>
            </a:r>
            <a:endParaRPr lang="en-US" dirty="0"/>
          </a:p>
        </p:txBody>
      </p:sp>
      <p:grpSp>
        <p:nvGrpSpPr>
          <p:cNvPr id="129" name="Gruppieren 128">
            <a:extLst>
              <a:ext uri="{FF2B5EF4-FFF2-40B4-BE49-F238E27FC236}">
                <a16:creationId xmlns:a16="http://schemas.microsoft.com/office/drawing/2014/main" id="{09F6AA75-437B-FE76-A591-E8BA8470F380}"/>
              </a:ext>
            </a:extLst>
          </p:cNvPr>
          <p:cNvGrpSpPr/>
          <p:nvPr/>
        </p:nvGrpSpPr>
        <p:grpSpPr>
          <a:xfrm>
            <a:off x="270979" y="5623323"/>
            <a:ext cx="5098869" cy="589990"/>
            <a:chOff x="518251" y="4763587"/>
            <a:chExt cx="5098869" cy="589990"/>
          </a:xfrm>
        </p:grpSpPr>
        <p:cxnSp>
          <p:nvCxnSpPr>
            <p:cNvPr id="94" name="Gerader Verbinder 93">
              <a:extLst>
                <a:ext uri="{FF2B5EF4-FFF2-40B4-BE49-F238E27FC236}">
                  <a16:creationId xmlns:a16="http://schemas.microsoft.com/office/drawing/2014/main" id="{228A4681-98E0-438A-B82B-CA760E19AE3E}"/>
                </a:ext>
              </a:extLst>
            </p:cNvPr>
            <p:cNvCxnSpPr/>
            <p:nvPr/>
          </p:nvCxnSpPr>
          <p:spPr>
            <a:xfrm>
              <a:off x="526960" y="4763587"/>
              <a:ext cx="0" cy="409303"/>
            </a:xfrm>
            <a:prstGeom prst="line">
              <a:avLst/>
            </a:prstGeom>
            <a:ln>
              <a:solidFill>
                <a:srgbClr val="C00000"/>
              </a:solidFill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>
              <a:extLst>
                <a:ext uri="{FF2B5EF4-FFF2-40B4-BE49-F238E27FC236}">
                  <a16:creationId xmlns:a16="http://schemas.microsoft.com/office/drawing/2014/main" id="{BD395B26-4445-0B3E-02F2-20D55A5F82F8}"/>
                </a:ext>
              </a:extLst>
            </p:cNvPr>
            <p:cNvCxnSpPr/>
            <p:nvPr/>
          </p:nvCxnSpPr>
          <p:spPr>
            <a:xfrm>
              <a:off x="5617120" y="4764849"/>
              <a:ext cx="0" cy="409303"/>
            </a:xfrm>
            <a:prstGeom prst="line">
              <a:avLst/>
            </a:prstGeom>
            <a:ln>
              <a:solidFill>
                <a:srgbClr val="C00000"/>
              </a:solidFill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>
              <a:extLst>
                <a:ext uri="{FF2B5EF4-FFF2-40B4-BE49-F238E27FC236}">
                  <a16:creationId xmlns:a16="http://schemas.microsoft.com/office/drawing/2014/main" id="{B6E822B5-B5AA-B0DF-242E-EEE4EFD0C637}"/>
                </a:ext>
              </a:extLst>
            </p:cNvPr>
            <p:cNvCxnSpPr/>
            <p:nvPr/>
          </p:nvCxnSpPr>
          <p:spPr>
            <a:xfrm>
              <a:off x="518251" y="4968238"/>
              <a:ext cx="5098869" cy="0"/>
            </a:xfrm>
            <a:prstGeom prst="straightConnector1">
              <a:avLst/>
            </a:prstGeom>
            <a:ln>
              <a:solidFill>
                <a:srgbClr val="C00000"/>
              </a:solidFill>
              <a:headEnd type="triangle" w="lg" len="lg"/>
              <a:tailEnd type="triangle" w="lg" len="lg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Textfeld 97">
              <a:extLst>
                <a:ext uri="{FF2B5EF4-FFF2-40B4-BE49-F238E27FC236}">
                  <a16:creationId xmlns:a16="http://schemas.microsoft.com/office/drawing/2014/main" id="{DEF5AE3E-101B-2CF6-77DF-F61D623D4BBF}"/>
                </a:ext>
              </a:extLst>
            </p:cNvPr>
            <p:cNvSpPr txBox="1"/>
            <p:nvPr/>
          </p:nvSpPr>
          <p:spPr>
            <a:xfrm>
              <a:off x="2732405" y="5005237"/>
              <a:ext cx="670560" cy="3483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400" b="1" dirty="0">
                  <a:solidFill>
                    <a:srgbClr val="C00000"/>
                  </a:solidFill>
                </a:rPr>
                <a:t>72 HP</a:t>
              </a:r>
              <a:endParaRPr lang="en-US" sz="1400" b="1" dirty="0" err="1">
                <a:solidFill>
                  <a:srgbClr val="C00000"/>
                </a:solidFill>
              </a:endParaRPr>
            </a:p>
          </p:txBody>
        </p:sp>
      </p:grp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85BAF487-952B-4D70-626A-135218FA544B}"/>
              </a:ext>
            </a:extLst>
          </p:cNvPr>
          <p:cNvGrpSpPr/>
          <p:nvPr/>
        </p:nvGrpSpPr>
        <p:grpSpPr>
          <a:xfrm>
            <a:off x="5844658" y="5636027"/>
            <a:ext cx="857796" cy="576237"/>
            <a:chOff x="518251" y="5229495"/>
            <a:chExt cx="857796" cy="576237"/>
          </a:xfrm>
        </p:grpSpPr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57C4678B-E76B-9DF4-D016-71C91335CC15}"/>
                </a:ext>
              </a:extLst>
            </p:cNvPr>
            <p:cNvGrpSpPr/>
            <p:nvPr/>
          </p:nvGrpSpPr>
          <p:grpSpPr>
            <a:xfrm>
              <a:off x="518251" y="5229495"/>
              <a:ext cx="857796" cy="409304"/>
              <a:chOff x="518251" y="5229495"/>
              <a:chExt cx="857796" cy="409304"/>
            </a:xfrm>
          </p:grpSpPr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FFAA9F07-1DFE-C6F1-15CA-5D6389104087}"/>
                  </a:ext>
                </a:extLst>
              </p:cNvPr>
              <p:cNvCxnSpPr/>
              <p:nvPr/>
            </p:nvCxnSpPr>
            <p:spPr>
              <a:xfrm>
                <a:off x="526960" y="5229496"/>
                <a:ext cx="0" cy="409303"/>
              </a:xfrm>
              <a:prstGeom prst="line">
                <a:avLst/>
              </a:prstGeom>
              <a:ln>
                <a:solidFill>
                  <a:srgbClr val="C00000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65FA26A0-AFA5-B0E8-1402-668B5F3C1845}"/>
                  </a:ext>
                </a:extLst>
              </p:cNvPr>
              <p:cNvCxnSpPr/>
              <p:nvPr/>
            </p:nvCxnSpPr>
            <p:spPr>
              <a:xfrm>
                <a:off x="1376047" y="5229495"/>
                <a:ext cx="0" cy="409303"/>
              </a:xfrm>
              <a:prstGeom prst="line">
                <a:avLst/>
              </a:prstGeom>
              <a:ln>
                <a:solidFill>
                  <a:srgbClr val="C00000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 Verbindung mit Pfeil 100">
                <a:extLst>
                  <a:ext uri="{FF2B5EF4-FFF2-40B4-BE49-F238E27FC236}">
                    <a16:creationId xmlns:a16="http://schemas.microsoft.com/office/drawing/2014/main" id="{AE3C5ECB-D5E0-DB60-C7DC-7B0AF5E38B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8251" y="5434147"/>
                <a:ext cx="857796" cy="0"/>
              </a:xfrm>
              <a:prstGeom prst="straightConnector1">
                <a:avLst/>
              </a:prstGeom>
              <a:ln>
                <a:solidFill>
                  <a:srgbClr val="C00000"/>
                </a:solidFill>
                <a:headEnd type="triangle" w="lg" len="lg"/>
                <a:tailEnd type="triangle" w="lg" len="lg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4" name="Textfeld 103">
              <a:extLst>
                <a:ext uri="{FF2B5EF4-FFF2-40B4-BE49-F238E27FC236}">
                  <a16:creationId xmlns:a16="http://schemas.microsoft.com/office/drawing/2014/main" id="{8CCAAD34-A565-2751-0506-F32EEC28BAF4}"/>
                </a:ext>
              </a:extLst>
            </p:cNvPr>
            <p:cNvSpPr txBox="1"/>
            <p:nvPr/>
          </p:nvSpPr>
          <p:spPr>
            <a:xfrm>
              <a:off x="598760" y="5457392"/>
              <a:ext cx="670560" cy="3483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400" b="1" dirty="0">
                  <a:solidFill>
                    <a:srgbClr val="C00000"/>
                  </a:solidFill>
                </a:rPr>
                <a:t>12 HP</a:t>
              </a:r>
              <a:endParaRPr lang="en-US" sz="1400" b="1" dirty="0" err="1">
                <a:solidFill>
                  <a:srgbClr val="C00000"/>
                </a:solidFill>
              </a:endParaRPr>
            </a:p>
          </p:txBody>
        </p:sp>
      </p:grp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45BF0102-821B-D4DD-BB1B-40B8D419B995}"/>
              </a:ext>
            </a:extLst>
          </p:cNvPr>
          <p:cNvGrpSpPr/>
          <p:nvPr/>
        </p:nvGrpSpPr>
        <p:grpSpPr>
          <a:xfrm>
            <a:off x="8340639" y="1205048"/>
            <a:ext cx="3387624" cy="1459777"/>
            <a:chOff x="7565576" y="1893024"/>
            <a:chExt cx="3387624" cy="1459777"/>
          </a:xfrm>
        </p:grpSpPr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4F0EFF37-C2D3-4A8C-DA80-9E9FA76BA085}"/>
                </a:ext>
              </a:extLst>
            </p:cNvPr>
            <p:cNvSpPr/>
            <p:nvPr/>
          </p:nvSpPr>
          <p:spPr>
            <a:xfrm>
              <a:off x="7620000" y="1983377"/>
              <a:ext cx="1593669" cy="127362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  <a:p>
              <a:pPr algn="ctr"/>
              <a:endParaRPr lang="de-DE" sz="1400" dirty="0">
                <a:solidFill>
                  <a:schemeClr val="tx1"/>
                </a:solidFill>
              </a:endParaRPr>
            </a:p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Double</a:t>
              </a:r>
            </a:p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AMC / MCH</a:t>
              </a:r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40CBD524-40CA-5F93-C428-BF61CA9A98B6}"/>
                </a:ext>
              </a:extLst>
            </p:cNvPr>
            <p:cNvSpPr/>
            <p:nvPr/>
          </p:nvSpPr>
          <p:spPr>
            <a:xfrm>
              <a:off x="7565576" y="1898468"/>
              <a:ext cx="54423" cy="1454333"/>
            </a:xfrm>
            <a:prstGeom prst="rect">
              <a:avLst/>
            </a:prstGeom>
            <a:solidFill>
              <a:schemeClr val="accent5">
                <a:lumMod val="85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335851C9-623C-D069-DAB9-EBD64223B6CD}"/>
                </a:ext>
              </a:extLst>
            </p:cNvPr>
            <p:cNvSpPr/>
            <p:nvPr/>
          </p:nvSpPr>
          <p:spPr>
            <a:xfrm>
              <a:off x="9305109" y="2620191"/>
              <a:ext cx="56605" cy="63681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F3B138FD-38F4-291B-5C81-2064DAE286F6}"/>
                </a:ext>
              </a:extLst>
            </p:cNvPr>
            <p:cNvSpPr/>
            <p:nvPr/>
          </p:nvSpPr>
          <p:spPr>
            <a:xfrm>
              <a:off x="9213669" y="2655334"/>
              <a:ext cx="91439" cy="544286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13C64639-0FC1-B828-5C5F-2AAF0D91666F}"/>
                </a:ext>
              </a:extLst>
            </p:cNvPr>
            <p:cNvSpPr/>
            <p:nvPr/>
          </p:nvSpPr>
          <p:spPr>
            <a:xfrm>
              <a:off x="9631680" y="1983377"/>
              <a:ext cx="1267097" cy="127362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  <a:p>
              <a:pPr algn="ctr"/>
              <a:endParaRPr lang="de-DE" sz="1400" dirty="0">
                <a:solidFill>
                  <a:schemeClr val="tx1"/>
                </a:solidFill>
              </a:endParaRPr>
            </a:p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AMC RTM / MCH RTM</a:t>
              </a:r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68557198-5C9C-01AA-5D78-BB9BD7BC83C8}"/>
                </a:ext>
              </a:extLst>
            </p:cNvPr>
            <p:cNvSpPr/>
            <p:nvPr/>
          </p:nvSpPr>
          <p:spPr>
            <a:xfrm>
              <a:off x="9361714" y="1982328"/>
              <a:ext cx="1267097" cy="517812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33F7D810-3A73-0318-3DF4-BB516D9487F4}"/>
                </a:ext>
              </a:extLst>
            </p:cNvPr>
            <p:cNvSpPr/>
            <p:nvPr/>
          </p:nvSpPr>
          <p:spPr>
            <a:xfrm>
              <a:off x="9213668" y="2047213"/>
              <a:ext cx="148045" cy="369360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81DDA1E3-D1B8-62EB-13F1-90ACAB3BA44D}"/>
                </a:ext>
              </a:extLst>
            </p:cNvPr>
            <p:cNvSpPr/>
            <p:nvPr/>
          </p:nvSpPr>
          <p:spPr>
            <a:xfrm>
              <a:off x="9424851" y="2620191"/>
              <a:ext cx="56605" cy="63681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7A7978BC-F095-23CC-6F63-9DF5556FB8E0}"/>
                </a:ext>
              </a:extLst>
            </p:cNvPr>
            <p:cNvSpPr/>
            <p:nvPr/>
          </p:nvSpPr>
          <p:spPr>
            <a:xfrm>
              <a:off x="9481456" y="2958736"/>
              <a:ext cx="150224" cy="124098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F9E93D01-0070-3C6B-0D05-59FB236504AC}"/>
                </a:ext>
              </a:extLst>
            </p:cNvPr>
            <p:cNvSpPr/>
            <p:nvPr/>
          </p:nvSpPr>
          <p:spPr>
            <a:xfrm>
              <a:off x="10898777" y="1893024"/>
              <a:ext cx="54423" cy="1454333"/>
            </a:xfrm>
            <a:prstGeom prst="rect">
              <a:avLst/>
            </a:prstGeom>
            <a:solidFill>
              <a:schemeClr val="accent5">
                <a:lumMod val="85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FBC4E194-B9D2-184E-D965-DABEF983364F}"/>
              </a:ext>
            </a:extLst>
          </p:cNvPr>
          <p:cNvGrpSpPr/>
          <p:nvPr/>
        </p:nvGrpSpPr>
        <p:grpSpPr>
          <a:xfrm>
            <a:off x="8340639" y="2807791"/>
            <a:ext cx="3519602" cy="1459777"/>
            <a:chOff x="7565576" y="1893024"/>
            <a:chExt cx="3519602" cy="1459777"/>
          </a:xfrm>
        </p:grpSpPr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1DD93C0B-9FF2-4AC7-8287-52ACEA54CF1F}"/>
                </a:ext>
              </a:extLst>
            </p:cNvPr>
            <p:cNvSpPr/>
            <p:nvPr/>
          </p:nvSpPr>
          <p:spPr>
            <a:xfrm>
              <a:off x="7620000" y="1983377"/>
              <a:ext cx="1593669" cy="127362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  <a:p>
              <a:pPr algn="ctr"/>
              <a:endParaRPr lang="de-DE" sz="1400" dirty="0">
                <a:solidFill>
                  <a:schemeClr val="tx1"/>
                </a:solidFill>
              </a:endParaRPr>
            </a:p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Double</a:t>
              </a:r>
            </a:p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PM</a:t>
              </a:r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7CEA5DC9-ED7D-4D37-4279-5CA2349DA580}"/>
                </a:ext>
              </a:extLst>
            </p:cNvPr>
            <p:cNvSpPr/>
            <p:nvPr/>
          </p:nvSpPr>
          <p:spPr>
            <a:xfrm>
              <a:off x="7565576" y="1898468"/>
              <a:ext cx="54423" cy="1454333"/>
            </a:xfrm>
            <a:prstGeom prst="rect">
              <a:avLst/>
            </a:prstGeom>
            <a:solidFill>
              <a:schemeClr val="accent5">
                <a:lumMod val="85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5349B3F4-54DB-1E23-D5A9-D908CF48BBB7}"/>
                </a:ext>
              </a:extLst>
            </p:cNvPr>
            <p:cNvSpPr/>
            <p:nvPr/>
          </p:nvSpPr>
          <p:spPr>
            <a:xfrm>
              <a:off x="9305109" y="2620191"/>
              <a:ext cx="56605" cy="63681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B725B8E0-DE67-F858-CC65-3CE5EEA32057}"/>
                </a:ext>
              </a:extLst>
            </p:cNvPr>
            <p:cNvSpPr/>
            <p:nvPr/>
          </p:nvSpPr>
          <p:spPr>
            <a:xfrm>
              <a:off x="9213669" y="2655334"/>
              <a:ext cx="91439" cy="544286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77901A0A-1985-A36E-F152-07C0D2009ED4}"/>
                </a:ext>
              </a:extLst>
            </p:cNvPr>
            <p:cNvSpPr/>
            <p:nvPr/>
          </p:nvSpPr>
          <p:spPr>
            <a:xfrm>
              <a:off x="9577257" y="1982327"/>
              <a:ext cx="1051554" cy="637863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AEF220F9-A3B9-B7D8-F69D-83A2EB5FCC0C}"/>
                </a:ext>
              </a:extLst>
            </p:cNvPr>
            <p:cNvSpPr/>
            <p:nvPr/>
          </p:nvSpPr>
          <p:spPr>
            <a:xfrm>
              <a:off x="9433555" y="2619143"/>
              <a:ext cx="45719" cy="63786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>
              <a:extLst>
                <a:ext uri="{FF2B5EF4-FFF2-40B4-BE49-F238E27FC236}">
                  <a16:creationId xmlns:a16="http://schemas.microsoft.com/office/drawing/2014/main" id="{F1BEB4E1-6E2F-44DD-8275-3DAB30FA4A01}"/>
                </a:ext>
              </a:extLst>
            </p:cNvPr>
            <p:cNvSpPr/>
            <p:nvPr/>
          </p:nvSpPr>
          <p:spPr>
            <a:xfrm>
              <a:off x="11030755" y="1893024"/>
              <a:ext cx="54423" cy="1454333"/>
            </a:xfrm>
            <a:prstGeom prst="rect">
              <a:avLst/>
            </a:prstGeom>
            <a:solidFill>
              <a:schemeClr val="accent5">
                <a:lumMod val="85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2239A008-EB92-209A-FA08-8FF5174995E0}"/>
                </a:ext>
              </a:extLst>
            </p:cNvPr>
            <p:cNvSpPr/>
            <p:nvPr/>
          </p:nvSpPr>
          <p:spPr>
            <a:xfrm>
              <a:off x="9577257" y="1983377"/>
              <a:ext cx="1453497" cy="127362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  <a:p>
              <a:pPr algn="ctr"/>
              <a:endParaRPr lang="de-DE" sz="1400" dirty="0">
                <a:solidFill>
                  <a:schemeClr val="tx1"/>
                </a:solidFill>
              </a:endParaRPr>
            </a:p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RTM PM</a:t>
              </a:r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96" name="Rechteck 95">
            <a:extLst>
              <a:ext uri="{FF2B5EF4-FFF2-40B4-BE49-F238E27FC236}">
                <a16:creationId xmlns:a16="http://schemas.microsoft.com/office/drawing/2014/main" id="{7DE423EE-D044-B978-B8AA-51D010D03174}"/>
              </a:ext>
            </a:extLst>
          </p:cNvPr>
          <p:cNvSpPr/>
          <p:nvPr/>
        </p:nvSpPr>
        <p:spPr>
          <a:xfrm>
            <a:off x="10260880" y="3570101"/>
            <a:ext cx="91439" cy="54428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300A5022-C8DC-84B9-9CAB-167EA0008B14}"/>
              </a:ext>
            </a:extLst>
          </p:cNvPr>
          <p:cNvGrpSpPr/>
          <p:nvPr/>
        </p:nvGrpSpPr>
        <p:grpSpPr>
          <a:xfrm>
            <a:off x="8340634" y="4551780"/>
            <a:ext cx="1796144" cy="1289139"/>
            <a:chOff x="7565571" y="1967867"/>
            <a:chExt cx="1796144" cy="1289139"/>
          </a:xfrm>
        </p:grpSpPr>
        <p:sp>
          <p:nvSpPr>
            <p:cNvPr id="106" name="Rechteck 105">
              <a:extLst>
                <a:ext uri="{FF2B5EF4-FFF2-40B4-BE49-F238E27FC236}">
                  <a16:creationId xmlns:a16="http://schemas.microsoft.com/office/drawing/2014/main" id="{9A7BF589-F4F4-2052-7667-BC8C086C83CE}"/>
                </a:ext>
              </a:extLst>
            </p:cNvPr>
            <p:cNvSpPr/>
            <p:nvPr/>
          </p:nvSpPr>
          <p:spPr>
            <a:xfrm>
              <a:off x="7620000" y="1983378"/>
              <a:ext cx="1593669" cy="60555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50" dirty="0">
                <a:solidFill>
                  <a:schemeClr val="tx1"/>
                </a:solidFill>
              </a:endParaRPr>
            </a:p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Single PM / MCH</a:t>
              </a:r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Rechteck 106">
              <a:extLst>
                <a:ext uri="{FF2B5EF4-FFF2-40B4-BE49-F238E27FC236}">
                  <a16:creationId xmlns:a16="http://schemas.microsoft.com/office/drawing/2014/main" id="{31D9ACD4-8C14-8442-CF79-3A9332ED3861}"/>
                </a:ext>
              </a:extLst>
            </p:cNvPr>
            <p:cNvSpPr/>
            <p:nvPr/>
          </p:nvSpPr>
          <p:spPr>
            <a:xfrm>
              <a:off x="7565571" y="2620191"/>
              <a:ext cx="54423" cy="636575"/>
            </a:xfrm>
            <a:prstGeom prst="rect">
              <a:avLst/>
            </a:prstGeom>
            <a:solidFill>
              <a:schemeClr val="accent5">
                <a:lumMod val="85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08" name="Rechteck 107">
              <a:extLst>
                <a:ext uri="{FF2B5EF4-FFF2-40B4-BE49-F238E27FC236}">
                  <a16:creationId xmlns:a16="http://schemas.microsoft.com/office/drawing/2014/main" id="{E4C41911-A263-06F4-813A-6B6FC731AE57}"/>
                </a:ext>
              </a:extLst>
            </p:cNvPr>
            <p:cNvSpPr/>
            <p:nvPr/>
          </p:nvSpPr>
          <p:spPr>
            <a:xfrm>
              <a:off x="9305109" y="1967867"/>
              <a:ext cx="56606" cy="128913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Rechteck 108">
              <a:extLst>
                <a:ext uri="{FF2B5EF4-FFF2-40B4-BE49-F238E27FC236}">
                  <a16:creationId xmlns:a16="http://schemas.microsoft.com/office/drawing/2014/main" id="{98A23CB9-AEBF-EB02-3905-B5C29D23EFD7}"/>
                </a:ext>
              </a:extLst>
            </p:cNvPr>
            <p:cNvSpPr/>
            <p:nvPr/>
          </p:nvSpPr>
          <p:spPr>
            <a:xfrm>
              <a:off x="9213669" y="2655334"/>
              <a:ext cx="91439" cy="544286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17" name="Rechteck 116">
            <a:extLst>
              <a:ext uri="{FF2B5EF4-FFF2-40B4-BE49-F238E27FC236}">
                <a16:creationId xmlns:a16="http://schemas.microsoft.com/office/drawing/2014/main" id="{9F7C10A2-A4A6-EE5A-F27B-241628BB2339}"/>
              </a:ext>
            </a:extLst>
          </p:cNvPr>
          <p:cNvSpPr/>
          <p:nvPr/>
        </p:nvSpPr>
        <p:spPr>
          <a:xfrm>
            <a:off x="8406863" y="5216697"/>
            <a:ext cx="1593669" cy="60555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50" dirty="0">
              <a:solidFill>
                <a:schemeClr val="tx1"/>
              </a:solidFill>
            </a:endParaRPr>
          </a:p>
          <a:p>
            <a:pPr algn="ctr"/>
            <a:r>
              <a:rPr lang="de-DE" sz="1400" dirty="0">
                <a:solidFill>
                  <a:schemeClr val="tx1"/>
                </a:solidFill>
              </a:rPr>
              <a:t>Single PM / MCH</a:t>
            </a: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18895E89-5CD7-2BCD-5BE1-8CD9EAFC222E}"/>
              </a:ext>
            </a:extLst>
          </p:cNvPr>
          <p:cNvSpPr/>
          <p:nvPr/>
        </p:nvSpPr>
        <p:spPr>
          <a:xfrm>
            <a:off x="8341547" y="4551780"/>
            <a:ext cx="54423" cy="636575"/>
          </a:xfrm>
          <a:prstGeom prst="rect">
            <a:avLst/>
          </a:prstGeom>
          <a:solidFill>
            <a:schemeClr val="accent5">
              <a:lumMod val="85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2909344D-6838-31F9-9F15-AD77514BC536}"/>
              </a:ext>
            </a:extLst>
          </p:cNvPr>
          <p:cNvSpPr/>
          <p:nvPr/>
        </p:nvSpPr>
        <p:spPr>
          <a:xfrm>
            <a:off x="9988732" y="4595848"/>
            <a:ext cx="91439" cy="54428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3D175CF0-AF3E-3CA6-F431-204946106D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239" y="3189947"/>
            <a:ext cx="5163271" cy="2514951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07635695-FC1A-C2C9-802F-757F0219C5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4964" y="3191466"/>
            <a:ext cx="914528" cy="2514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2146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6C60CB-05B4-F38E-C7FB-E11A137B25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25717052-9817-FE1B-9340-08947546EBF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40" y="1104900"/>
            <a:ext cx="5085185" cy="4838700"/>
          </a:xfrm>
        </p:spPr>
        <p:txBody>
          <a:bodyPr/>
          <a:lstStyle/>
          <a:p>
            <a:pPr>
              <a:spcBef>
                <a:spcPts val="2400"/>
              </a:spcBef>
            </a:pPr>
            <a:r>
              <a:rPr lang="de-DE" dirty="0"/>
              <a:t>12 Double </a:t>
            </a:r>
            <a:r>
              <a:rPr lang="de-DE" dirty="0" err="1"/>
              <a:t>Full</a:t>
            </a:r>
            <a:r>
              <a:rPr lang="de-DE" dirty="0"/>
              <a:t>-size AMC Slots</a:t>
            </a:r>
          </a:p>
          <a:p>
            <a:pPr>
              <a:spcBef>
                <a:spcPts val="2400"/>
              </a:spcBef>
            </a:pPr>
            <a:r>
              <a:rPr lang="de-DE" dirty="0"/>
              <a:t>2 Single </a:t>
            </a:r>
            <a:r>
              <a:rPr lang="de-DE" dirty="0" err="1"/>
              <a:t>Full</a:t>
            </a:r>
            <a:r>
              <a:rPr lang="de-DE" dirty="0"/>
              <a:t>-size </a:t>
            </a:r>
            <a:r>
              <a:rPr lang="de-DE" dirty="0" err="1"/>
              <a:t>MCH‘s</a:t>
            </a:r>
            <a:r>
              <a:rPr lang="de-DE" dirty="0"/>
              <a:t> </a:t>
            </a:r>
            <a:r>
              <a:rPr lang="de-DE" dirty="0" err="1"/>
              <a:t>left</a:t>
            </a:r>
            <a:r>
              <a:rPr lang="de-DE" dirty="0"/>
              <a:t> and </a:t>
            </a:r>
            <a:r>
              <a:rPr lang="de-DE" dirty="0" err="1"/>
              <a:t>right</a:t>
            </a:r>
            <a:r>
              <a:rPr lang="de-DE" dirty="0"/>
              <a:t> (MTCA.0 Rev.2)</a:t>
            </a:r>
          </a:p>
          <a:p>
            <a:pPr>
              <a:spcBef>
                <a:spcPts val="2400"/>
              </a:spcBef>
            </a:pPr>
            <a:r>
              <a:rPr lang="de-DE" dirty="0"/>
              <a:t>2 Single </a:t>
            </a:r>
            <a:r>
              <a:rPr lang="de-DE" dirty="0" err="1"/>
              <a:t>Full</a:t>
            </a:r>
            <a:r>
              <a:rPr lang="de-DE" dirty="0"/>
              <a:t>-size </a:t>
            </a:r>
            <a:r>
              <a:rPr lang="de-DE" dirty="0" err="1"/>
              <a:t>PM‘s</a:t>
            </a:r>
            <a:r>
              <a:rPr lang="de-DE" dirty="0"/>
              <a:t> </a:t>
            </a:r>
            <a:r>
              <a:rPr lang="de-DE" dirty="0" err="1"/>
              <a:t>abo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CH‘s</a:t>
            </a:r>
            <a:endParaRPr lang="de-DE" dirty="0"/>
          </a:p>
          <a:p>
            <a:pPr>
              <a:spcBef>
                <a:spcPts val="2400"/>
              </a:spcBef>
            </a:pPr>
            <a:r>
              <a:rPr lang="de-DE" dirty="0" err="1"/>
              <a:t>Alternatively</a:t>
            </a:r>
            <a:r>
              <a:rPr lang="de-DE" dirty="0"/>
              <a:t> 4 </a:t>
            </a:r>
            <a:r>
              <a:rPr lang="de-DE" dirty="0" err="1"/>
              <a:t>PM‘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ar</a:t>
            </a:r>
            <a:r>
              <a:rPr lang="de-DE" dirty="0"/>
              <a:t> </a:t>
            </a:r>
            <a:r>
              <a:rPr lang="de-DE" dirty="0" err="1"/>
              <a:t>card</a:t>
            </a:r>
            <a:r>
              <a:rPr lang="de-DE" dirty="0"/>
              <a:t> </a:t>
            </a:r>
            <a:r>
              <a:rPr lang="de-DE" dirty="0" err="1"/>
              <a:t>cage</a:t>
            </a:r>
            <a:endParaRPr lang="de-DE" dirty="0"/>
          </a:p>
          <a:p>
            <a:pPr>
              <a:spcBef>
                <a:spcPts val="2400"/>
              </a:spcBef>
            </a:pPr>
            <a:r>
              <a:rPr lang="de-DE" dirty="0"/>
              <a:t>1x Single </a:t>
            </a:r>
            <a:r>
              <a:rPr lang="de-DE" dirty="0" err="1"/>
              <a:t>Full</a:t>
            </a:r>
            <a:r>
              <a:rPr lang="de-DE" dirty="0"/>
              <a:t>-size JSM </a:t>
            </a:r>
            <a:r>
              <a:rPr lang="de-DE" dirty="0" err="1"/>
              <a:t>slot</a:t>
            </a:r>
            <a:r>
              <a:rPr lang="de-DE" dirty="0"/>
              <a:t> plus 1x Single </a:t>
            </a:r>
            <a:r>
              <a:rPr lang="de-DE" dirty="0" err="1"/>
              <a:t>Full</a:t>
            </a:r>
            <a:r>
              <a:rPr lang="de-DE" dirty="0"/>
              <a:t>-size spare </a:t>
            </a:r>
            <a:r>
              <a:rPr lang="de-DE" dirty="0" err="1"/>
              <a:t>slo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RTM </a:t>
            </a:r>
            <a:r>
              <a:rPr lang="de-DE" dirty="0" err="1"/>
              <a:t>section</a:t>
            </a:r>
            <a:endParaRPr lang="de-DE" dirty="0"/>
          </a:p>
          <a:p>
            <a:pPr>
              <a:spcBef>
                <a:spcPts val="2400"/>
              </a:spcBef>
            </a:pPr>
            <a:r>
              <a:rPr lang="de-DE" dirty="0"/>
              <a:t>The </a:t>
            </a:r>
            <a:r>
              <a:rPr lang="de-DE" dirty="0" err="1"/>
              <a:t>rear</a:t>
            </a:r>
            <a:r>
              <a:rPr lang="de-DE" dirty="0"/>
              <a:t> PM and JSM </a:t>
            </a:r>
            <a:r>
              <a:rPr lang="de-DE" dirty="0" err="1"/>
              <a:t>section</a:t>
            </a:r>
            <a:r>
              <a:rPr lang="de-DE" dirty="0"/>
              <a:t> </a:t>
            </a:r>
            <a:r>
              <a:rPr lang="de-DE" dirty="0" err="1"/>
              <a:t>covers</a:t>
            </a:r>
            <a:r>
              <a:rPr lang="de-DE" dirty="0"/>
              <a:t> 6 </a:t>
            </a:r>
            <a:r>
              <a:rPr lang="de-DE" dirty="0" err="1"/>
              <a:t>slots</a:t>
            </a:r>
            <a:r>
              <a:rPr lang="de-DE" dirty="0"/>
              <a:t>, </a:t>
            </a:r>
            <a:r>
              <a:rPr lang="de-DE" dirty="0" err="1"/>
              <a:t>only</a:t>
            </a:r>
            <a:r>
              <a:rPr lang="de-DE" dirty="0"/>
              <a:t> 6 </a:t>
            </a:r>
            <a:r>
              <a:rPr lang="de-DE" dirty="0" err="1"/>
              <a:t>RTM‘s</a:t>
            </a:r>
            <a:r>
              <a:rPr lang="de-DE" dirty="0"/>
              <a:t> possible</a:t>
            </a:r>
          </a:p>
          <a:p>
            <a:pPr>
              <a:spcBef>
                <a:spcPts val="2400"/>
              </a:spcBef>
            </a:pPr>
            <a:r>
              <a:rPr lang="de-DE" dirty="0"/>
              <a:t>MCH RTM </a:t>
            </a:r>
            <a:r>
              <a:rPr lang="de-DE" dirty="0" err="1"/>
              <a:t>is</a:t>
            </a:r>
            <a:r>
              <a:rPr lang="de-DE" dirty="0"/>
              <a:t> not possible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endParaRPr lang="de-DE" dirty="0"/>
          </a:p>
          <a:p>
            <a:pPr>
              <a:spcBef>
                <a:spcPts val="2400"/>
              </a:spcBef>
            </a:pPr>
            <a:endParaRPr lang="de-DE" dirty="0"/>
          </a:p>
          <a:p>
            <a:pPr>
              <a:spcBef>
                <a:spcPts val="2400"/>
              </a:spcBef>
            </a:pP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16DBEF9-A3E1-5CC2-C981-4F78BFF8F2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AB108E2-766F-E661-3964-1A7A7C741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rst </a:t>
            </a:r>
            <a:r>
              <a:rPr lang="de-DE" dirty="0" err="1"/>
              <a:t>Realization</a:t>
            </a:r>
            <a:r>
              <a:rPr lang="de-DE" dirty="0"/>
              <a:t>, Double </a:t>
            </a:r>
            <a:r>
              <a:rPr lang="de-DE" dirty="0" err="1"/>
              <a:t>Full</a:t>
            </a:r>
            <a:r>
              <a:rPr lang="de-DE" dirty="0"/>
              <a:t>-size </a:t>
            </a:r>
            <a:r>
              <a:rPr lang="de-DE" dirty="0" err="1"/>
              <a:t>AMC‘s</a:t>
            </a:r>
            <a:r>
              <a:rPr lang="de-DE" dirty="0"/>
              <a:t> @ MTCA.4 </a:t>
            </a:r>
            <a:r>
              <a:rPr lang="de-DE" dirty="0" err="1"/>
              <a:t>Crat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MS (2015)</a:t>
            </a:r>
            <a:endParaRPr lang="en-US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CCE9A16-F219-38D9-C5FA-F54534104BA5}"/>
              </a:ext>
            </a:extLst>
          </p:cNvPr>
          <p:cNvSpPr txBox="1"/>
          <p:nvPr/>
        </p:nvSpPr>
        <p:spPr>
          <a:xfrm>
            <a:off x="6721121" y="938915"/>
            <a:ext cx="1080896" cy="331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>
                <a:solidFill>
                  <a:schemeClr val="tx1"/>
                </a:solidFill>
              </a:rPr>
              <a:t>Front View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1D27EE4-CD7C-8B6D-55E7-EB1D49D03F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5148" y="938915"/>
            <a:ext cx="3229711" cy="322971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773F908-B6DB-8F35-D3EE-80D9788C8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5853" y="1211035"/>
            <a:ext cx="3519332" cy="169958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C36DCF5D-2259-223A-9C97-D117C2E35241}"/>
              </a:ext>
            </a:extLst>
          </p:cNvPr>
          <p:cNvSpPr txBox="1"/>
          <p:nvPr/>
        </p:nvSpPr>
        <p:spPr>
          <a:xfrm>
            <a:off x="6905697" y="3879785"/>
            <a:ext cx="1080896" cy="331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err="1">
                <a:solidFill>
                  <a:schemeClr val="tx1"/>
                </a:solidFill>
              </a:rPr>
              <a:t>Rear</a:t>
            </a:r>
            <a:r>
              <a:rPr lang="de-DE" sz="1400" dirty="0">
                <a:solidFill>
                  <a:schemeClr val="tx1"/>
                </a:solidFill>
              </a:rPr>
              <a:t> View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857E3A5-4C2D-87B2-713B-62E179DA80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3048" y="3497343"/>
            <a:ext cx="3229711" cy="3229711"/>
          </a:xfrm>
          <a:prstGeom prst="rect">
            <a:avLst/>
          </a:prstGeom>
        </p:spPr>
      </p:pic>
      <p:pic>
        <p:nvPicPr>
          <p:cNvPr id="6" name="Inhaltsplatzhalter 13">
            <a:extLst>
              <a:ext uri="{FF2B5EF4-FFF2-40B4-BE49-F238E27FC236}">
                <a16:creationId xmlns:a16="http://schemas.microsoft.com/office/drawing/2014/main" id="{D316D455-526B-F315-E928-978ED3397B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2052" y="4278885"/>
            <a:ext cx="2039034" cy="1351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809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A901E1-6EBA-D1A6-1DD6-DC72F1DD73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D6E96F1A-B98D-D790-81F2-2AD05888D92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40" y="1104900"/>
            <a:ext cx="5576972" cy="4838700"/>
          </a:xfrm>
        </p:spPr>
        <p:txBody>
          <a:bodyPr/>
          <a:lstStyle/>
          <a:p>
            <a:pPr>
              <a:spcBef>
                <a:spcPts val="1800"/>
              </a:spcBef>
            </a:pPr>
            <a:r>
              <a:rPr lang="de-DE" dirty="0"/>
              <a:t>With Rev. 3.0, </a:t>
            </a:r>
            <a:r>
              <a:rPr lang="de-DE" dirty="0" err="1"/>
              <a:t>the</a:t>
            </a:r>
            <a:r>
              <a:rPr lang="de-DE" dirty="0"/>
              <a:t> MCH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mo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idd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match </a:t>
            </a:r>
            <a:r>
              <a:rPr lang="de-DE" dirty="0" err="1"/>
              <a:t>the</a:t>
            </a:r>
            <a:r>
              <a:rPr lang="de-DE" dirty="0"/>
              <a:t> maximum trace </a:t>
            </a:r>
            <a:r>
              <a:rPr lang="de-DE" dirty="0" err="1"/>
              <a:t>lengt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PCIe Gen 5</a:t>
            </a:r>
          </a:p>
          <a:p>
            <a:pPr>
              <a:spcBef>
                <a:spcPts val="1800"/>
              </a:spcBef>
            </a:pPr>
            <a:r>
              <a:rPr lang="de-DE" dirty="0"/>
              <a:t>PM#1 &amp; 2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ither</a:t>
            </a:r>
            <a:r>
              <a:rPr lang="de-DE" dirty="0"/>
              <a:t> </a:t>
            </a:r>
            <a:r>
              <a:rPr lang="de-DE" dirty="0" err="1"/>
              <a:t>install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front </a:t>
            </a:r>
            <a:r>
              <a:rPr lang="de-DE" dirty="0" err="1"/>
              <a:t>abo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CH‘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alternatively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RTM </a:t>
            </a:r>
            <a:r>
              <a:rPr lang="de-DE" dirty="0" err="1"/>
              <a:t>behi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CH‘s</a:t>
            </a:r>
            <a:r>
              <a:rPr lang="de-DE" dirty="0"/>
              <a:t> (not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options</a:t>
            </a:r>
            <a:r>
              <a:rPr lang="de-DE" dirty="0"/>
              <a:t> possible in parallel)</a:t>
            </a:r>
          </a:p>
          <a:p>
            <a:pPr>
              <a:spcBef>
                <a:spcPts val="1800"/>
              </a:spcBef>
            </a:pPr>
            <a:r>
              <a:rPr lang="de-DE" dirty="0"/>
              <a:t>The JSM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mo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ottom</a:t>
            </a:r>
            <a:r>
              <a:rPr lang="de-DE" dirty="0"/>
              <a:t>, outsid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ard</a:t>
            </a:r>
            <a:r>
              <a:rPr lang="de-DE" dirty="0"/>
              <a:t> </a:t>
            </a:r>
            <a:r>
              <a:rPr lang="de-DE" dirty="0" err="1"/>
              <a:t>cage</a:t>
            </a:r>
            <a:endParaRPr lang="de-DE" dirty="0"/>
          </a:p>
          <a:p>
            <a:pPr>
              <a:spcBef>
                <a:spcPts val="1800"/>
              </a:spcBef>
            </a:pPr>
            <a:r>
              <a:rPr lang="de-DE" dirty="0" err="1"/>
              <a:t>Only</a:t>
            </a:r>
            <a:r>
              <a:rPr lang="de-DE" dirty="0"/>
              <a:t> 2 </a:t>
            </a:r>
            <a:r>
              <a:rPr lang="de-DE" dirty="0" err="1"/>
              <a:t>slot‘s</a:t>
            </a:r>
            <a:r>
              <a:rPr lang="de-DE" dirty="0"/>
              <a:t> </a:t>
            </a:r>
            <a:r>
              <a:rPr lang="de-DE" dirty="0" err="1"/>
              <a:t>RTM‘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blocked</a:t>
            </a:r>
            <a:endParaRPr lang="de-DE" dirty="0"/>
          </a:p>
          <a:p>
            <a:pPr>
              <a:spcBef>
                <a:spcPts val="1800"/>
              </a:spcBef>
            </a:pPr>
            <a:r>
              <a:rPr lang="de-DE" dirty="0" err="1"/>
              <a:t>No</a:t>
            </a:r>
            <a:r>
              <a:rPr lang="de-DE" dirty="0"/>
              <a:t> MCH RTM 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D9F3224-9473-1385-B5F8-8EF328054C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1D1A1B5-0946-14A0-0E2F-BF0B11AF6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would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Crate</a:t>
            </a:r>
            <a:r>
              <a:rPr lang="de-DE" dirty="0"/>
              <a:t> </a:t>
            </a:r>
            <a:r>
              <a:rPr lang="de-DE" dirty="0" err="1"/>
              <a:t>look</a:t>
            </a:r>
            <a:r>
              <a:rPr lang="de-DE" dirty="0"/>
              <a:t> like </a:t>
            </a:r>
            <a:r>
              <a:rPr lang="de-DE" dirty="0" err="1"/>
              <a:t>with</a:t>
            </a:r>
            <a:r>
              <a:rPr lang="de-DE" dirty="0"/>
              <a:t> MTCA.0 Rev. </a:t>
            </a:r>
            <a:r>
              <a:rPr lang="de-DE"/>
              <a:t>3.0</a:t>
            </a:r>
            <a:endParaRPr lang="en-US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D0A075D-7EC0-BE09-9E47-1DB4561BEB84}"/>
              </a:ext>
            </a:extLst>
          </p:cNvPr>
          <p:cNvSpPr txBox="1"/>
          <p:nvPr/>
        </p:nvSpPr>
        <p:spPr>
          <a:xfrm>
            <a:off x="6248155" y="938915"/>
            <a:ext cx="1080896" cy="331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>
                <a:solidFill>
                  <a:schemeClr val="tx1"/>
                </a:solidFill>
              </a:rPr>
              <a:t>Front View</a:t>
            </a:r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CB319E8F-7F40-ACD5-0D7B-45372CEEE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5790" y="1255521"/>
            <a:ext cx="5408750" cy="2248677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08948AEF-0AAD-645F-5328-5BD36A918C6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0272" t="57479" r="21856" b="11365"/>
          <a:stretch>
            <a:fillRect/>
          </a:stretch>
        </p:blipFill>
        <p:spPr>
          <a:xfrm>
            <a:off x="3657600" y="4374093"/>
            <a:ext cx="2474291" cy="2035585"/>
          </a:xfrm>
          <a:prstGeom prst="rect">
            <a:avLst/>
          </a:prstGeom>
        </p:spPr>
      </p:pic>
      <p:sp>
        <p:nvSpPr>
          <p:cNvPr id="79" name="Textfeld 78">
            <a:extLst>
              <a:ext uri="{FF2B5EF4-FFF2-40B4-BE49-F238E27FC236}">
                <a16:creationId xmlns:a16="http://schemas.microsoft.com/office/drawing/2014/main" id="{C4CFFD41-2DB4-2EC5-08E6-264489F63F80}"/>
              </a:ext>
            </a:extLst>
          </p:cNvPr>
          <p:cNvSpPr txBox="1"/>
          <p:nvPr/>
        </p:nvSpPr>
        <p:spPr>
          <a:xfrm>
            <a:off x="6331361" y="3659657"/>
            <a:ext cx="1080896" cy="331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err="1">
                <a:solidFill>
                  <a:schemeClr val="tx1"/>
                </a:solidFill>
              </a:rPr>
              <a:t>Rear</a:t>
            </a:r>
            <a:r>
              <a:rPr lang="de-DE" sz="1400" dirty="0">
                <a:solidFill>
                  <a:schemeClr val="tx1"/>
                </a:solidFill>
              </a:rPr>
              <a:t> View</a:t>
            </a:r>
          </a:p>
        </p:txBody>
      </p:sp>
      <p:pic>
        <p:nvPicPr>
          <p:cNvPr id="155" name="Grafik 154">
            <a:extLst>
              <a:ext uri="{FF2B5EF4-FFF2-40B4-BE49-F238E27FC236}">
                <a16:creationId xmlns:a16="http://schemas.microsoft.com/office/drawing/2014/main" id="{185AAFC9-9347-6286-E4D0-FF0942EA8F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5790" y="4007310"/>
            <a:ext cx="5408750" cy="2248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820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EEBF04-B083-D494-2873-1AF06B6E79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F68CA85-5E94-BD28-0E83-0625BF3AB41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7423033" cy="48387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upper</a:t>
            </a:r>
            <a:r>
              <a:rPr lang="de-DE" dirty="0"/>
              <a:t> fan </a:t>
            </a:r>
            <a:r>
              <a:rPr lang="de-DE" dirty="0" err="1"/>
              <a:t>tray</a:t>
            </a:r>
            <a:r>
              <a:rPr lang="de-DE" dirty="0"/>
              <a:t> in nVent SCHROFF </a:t>
            </a:r>
            <a:r>
              <a:rPr lang="de-DE" dirty="0" err="1"/>
              <a:t>Crate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 backplane </a:t>
            </a:r>
            <a:r>
              <a:rPr lang="de-DE" dirty="0" err="1"/>
              <a:t>extension</a:t>
            </a:r>
            <a:r>
              <a:rPr lang="de-DE" dirty="0"/>
              <a:t> </a:t>
            </a:r>
            <a:r>
              <a:rPr lang="de-DE" dirty="0" err="1"/>
              <a:t>cover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eftmost</a:t>
            </a:r>
            <a:r>
              <a:rPr lang="de-DE" dirty="0"/>
              <a:t> </a:t>
            </a:r>
            <a:r>
              <a:rPr lang="de-DE" dirty="0" err="1"/>
              <a:t>slo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rates</a:t>
            </a:r>
            <a:r>
              <a:rPr lang="de-DE" dirty="0"/>
              <a:t> Card Cage</a:t>
            </a:r>
          </a:p>
          <a:p>
            <a:r>
              <a:rPr lang="de-DE" dirty="0"/>
              <a:t>In </a:t>
            </a:r>
            <a:r>
              <a:rPr lang="de-DE" dirty="0" err="1"/>
              <a:t>Crat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Mid-size </a:t>
            </a:r>
            <a:r>
              <a:rPr lang="de-DE" dirty="0" err="1"/>
              <a:t>AMC‘s</a:t>
            </a:r>
            <a:r>
              <a:rPr lang="de-DE" dirty="0"/>
              <a:t> </a:t>
            </a:r>
            <a:r>
              <a:rPr lang="de-DE" dirty="0" err="1"/>
              <a:t>modules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PM Slot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doesn‘t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zone</a:t>
            </a:r>
            <a:r>
              <a:rPr lang="de-DE" dirty="0"/>
              <a:t> 3 RTM </a:t>
            </a:r>
            <a:r>
              <a:rPr lang="de-DE" dirty="0" err="1"/>
              <a:t>connector</a:t>
            </a:r>
            <a:r>
              <a:rPr lang="de-DE" dirty="0"/>
              <a:t> </a:t>
            </a:r>
          </a:p>
          <a:p>
            <a:r>
              <a:rPr lang="de-DE" dirty="0"/>
              <a:t>In non-redundant </a:t>
            </a:r>
            <a:r>
              <a:rPr lang="de-DE" dirty="0" err="1"/>
              <a:t>Crates</a:t>
            </a:r>
            <a:r>
              <a:rPr lang="de-DE" dirty="0"/>
              <a:t>, PM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locat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eftmost</a:t>
            </a:r>
            <a:r>
              <a:rPr lang="de-DE" dirty="0"/>
              <a:t> </a:t>
            </a:r>
            <a:r>
              <a:rPr lang="de-DE" dirty="0" err="1"/>
              <a:t>slot</a:t>
            </a:r>
            <a:endParaRPr lang="de-DE" dirty="0"/>
          </a:p>
          <a:p>
            <a:r>
              <a:rPr lang="de-DE" dirty="0"/>
              <a:t>In redundant </a:t>
            </a:r>
            <a:r>
              <a:rPr lang="de-DE" dirty="0" err="1"/>
              <a:t>Crat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tension</a:t>
            </a:r>
            <a:r>
              <a:rPr lang="de-DE" dirty="0"/>
              <a:t>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remov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zone</a:t>
            </a:r>
            <a:r>
              <a:rPr lang="de-DE" dirty="0"/>
              <a:t> 3</a:t>
            </a:r>
          </a:p>
          <a:p>
            <a:r>
              <a:rPr lang="de-DE" dirty="0"/>
              <a:t>A </a:t>
            </a:r>
            <a:r>
              <a:rPr lang="de-DE" dirty="0" err="1"/>
              <a:t>riser</a:t>
            </a:r>
            <a:r>
              <a:rPr lang="de-DE" dirty="0"/>
              <a:t> </a:t>
            </a:r>
            <a:r>
              <a:rPr lang="de-DE" dirty="0" err="1"/>
              <a:t>board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able</a:t>
            </a:r>
            <a:r>
              <a:rPr lang="de-DE" dirty="0"/>
              <a:t> </a:t>
            </a:r>
            <a:r>
              <a:rPr lang="de-DE" dirty="0" err="1"/>
              <a:t>harnes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equired</a:t>
            </a:r>
            <a:endParaRPr lang="de-DE" dirty="0"/>
          </a:p>
          <a:p>
            <a:endParaRPr lang="de-DE" dirty="0"/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F9D970-4CF9-27B5-BAC7-678DB0B74D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BB30CCD-C111-F902-AFF1-91951079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W </a:t>
            </a:r>
            <a:r>
              <a:rPr lang="de-DE" dirty="0" err="1"/>
              <a:t>challeng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MTCA.0 Rev 3.0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ull</a:t>
            </a:r>
            <a:r>
              <a:rPr lang="de-DE" dirty="0"/>
              <a:t>-size </a:t>
            </a:r>
            <a:r>
              <a:rPr lang="de-DE" dirty="0" err="1"/>
              <a:t>AMC‘s</a:t>
            </a:r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9F89EEE-A0C3-B319-34DC-AFFEE94F780D}"/>
              </a:ext>
            </a:extLst>
          </p:cNvPr>
          <p:cNvGrpSpPr/>
          <p:nvPr/>
        </p:nvGrpSpPr>
        <p:grpSpPr>
          <a:xfrm>
            <a:off x="7899662" y="943664"/>
            <a:ext cx="3987538" cy="2020377"/>
            <a:chOff x="7571232" y="4224192"/>
            <a:chExt cx="4315968" cy="2069872"/>
          </a:xfrm>
        </p:grpSpPr>
        <p:pic>
          <p:nvPicPr>
            <p:cNvPr id="6" name="Grafik 5" descr="Ein Bild, das Im Haus, Text, Ofen enthält.&#10;&#10;Automatisch generierte Beschreibung">
              <a:extLst>
                <a:ext uri="{FF2B5EF4-FFF2-40B4-BE49-F238E27FC236}">
                  <a16:creationId xmlns:a16="http://schemas.microsoft.com/office/drawing/2014/main" id="{029CAD2C-2DBF-3782-2A6C-A31E125B4E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71232" y="4224192"/>
              <a:ext cx="4315968" cy="2069872"/>
            </a:xfrm>
            <a:prstGeom prst="rect">
              <a:avLst/>
            </a:prstGeom>
          </p:spPr>
        </p:pic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BB7D890D-5DF4-4056-834B-8105BC2DE130}"/>
                </a:ext>
              </a:extLst>
            </p:cNvPr>
            <p:cNvSpPr/>
            <p:nvPr/>
          </p:nvSpPr>
          <p:spPr>
            <a:xfrm>
              <a:off x="7701699" y="4496586"/>
              <a:ext cx="433633" cy="735290"/>
            </a:xfrm>
            <a:prstGeom prst="round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113" name="Grafik 112">
            <a:extLst>
              <a:ext uri="{FF2B5EF4-FFF2-40B4-BE49-F238E27FC236}">
                <a16:creationId xmlns:a16="http://schemas.microsoft.com/office/drawing/2014/main" id="{02D118E6-0410-F59C-1396-28F036CF6C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3006" y="4359330"/>
            <a:ext cx="4754885" cy="1976834"/>
          </a:xfrm>
          <a:prstGeom prst="rect">
            <a:avLst/>
          </a:prstGeom>
        </p:spPr>
      </p:pic>
      <p:pic>
        <p:nvPicPr>
          <p:cNvPr id="166" name="Grafik 165">
            <a:extLst>
              <a:ext uri="{FF2B5EF4-FFF2-40B4-BE49-F238E27FC236}">
                <a16:creationId xmlns:a16="http://schemas.microsoft.com/office/drawing/2014/main" id="{4BA03ECB-89A4-642B-F3B6-D9F9E724BC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32312" y="4359330"/>
            <a:ext cx="4754888" cy="1976835"/>
          </a:xfrm>
          <a:prstGeom prst="rect">
            <a:avLst/>
          </a:prstGeom>
        </p:spPr>
      </p:pic>
      <p:sp>
        <p:nvSpPr>
          <p:cNvPr id="167" name="Textfeld 166">
            <a:extLst>
              <a:ext uri="{FF2B5EF4-FFF2-40B4-BE49-F238E27FC236}">
                <a16:creationId xmlns:a16="http://schemas.microsoft.com/office/drawing/2014/main" id="{8951B766-7418-1333-E94F-B391E2F8AB7E}"/>
              </a:ext>
            </a:extLst>
          </p:cNvPr>
          <p:cNvSpPr txBox="1"/>
          <p:nvPr/>
        </p:nvSpPr>
        <p:spPr>
          <a:xfrm>
            <a:off x="7073893" y="4059943"/>
            <a:ext cx="1485599" cy="331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>
                <a:solidFill>
                  <a:schemeClr val="tx1"/>
                </a:solidFill>
              </a:rPr>
              <a:t>Redundant </a:t>
            </a:r>
            <a:r>
              <a:rPr lang="de-DE" sz="1400" dirty="0" err="1">
                <a:solidFill>
                  <a:schemeClr val="tx1"/>
                </a:solidFill>
              </a:rPr>
              <a:t>Crat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8" name="Textfeld 167">
            <a:extLst>
              <a:ext uri="{FF2B5EF4-FFF2-40B4-BE49-F238E27FC236}">
                <a16:creationId xmlns:a16="http://schemas.microsoft.com/office/drawing/2014/main" id="{B0A6A323-BC43-F458-8762-A0A9B6747951}"/>
              </a:ext>
            </a:extLst>
          </p:cNvPr>
          <p:cNvSpPr txBox="1"/>
          <p:nvPr/>
        </p:nvSpPr>
        <p:spPr>
          <a:xfrm>
            <a:off x="2187004" y="4062662"/>
            <a:ext cx="1836245" cy="331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>
                <a:solidFill>
                  <a:schemeClr val="tx1"/>
                </a:solidFill>
              </a:rPr>
              <a:t>Non-redundant </a:t>
            </a:r>
            <a:r>
              <a:rPr lang="de-DE" sz="1400" dirty="0" err="1">
                <a:solidFill>
                  <a:schemeClr val="tx1"/>
                </a:solidFill>
              </a:rPr>
              <a:t>Crate</a:t>
            </a: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3725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EF25F9-6417-3429-C399-A158FF0F39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2F73D0A-87F7-A976-BD48-EDD42F9C75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037629"/>
            <a:ext cx="3661738" cy="1942022"/>
          </a:xfrm>
        </p:spPr>
        <p:txBody>
          <a:bodyPr/>
          <a:lstStyle/>
          <a:p>
            <a:r>
              <a:rPr lang="de-DE" dirty="0"/>
              <a:t>Front (Non-redundant </a:t>
            </a:r>
            <a:r>
              <a:rPr lang="de-DE" dirty="0" err="1"/>
              <a:t>version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1 Double </a:t>
            </a:r>
            <a:r>
              <a:rPr lang="de-DE" dirty="0" err="1"/>
              <a:t>Full</a:t>
            </a:r>
            <a:r>
              <a:rPr lang="de-DE" dirty="0"/>
              <a:t>-size PM Slot</a:t>
            </a:r>
          </a:p>
          <a:p>
            <a:pPr lvl="1"/>
            <a:r>
              <a:rPr lang="de-DE" dirty="0"/>
              <a:t>1 Double </a:t>
            </a:r>
            <a:r>
              <a:rPr lang="de-DE" dirty="0" err="1"/>
              <a:t>Full</a:t>
            </a:r>
            <a:r>
              <a:rPr lang="de-DE" dirty="0"/>
              <a:t>-size MCH Slot</a:t>
            </a:r>
          </a:p>
          <a:p>
            <a:pPr lvl="1"/>
            <a:r>
              <a:rPr lang="de-DE" dirty="0"/>
              <a:t>12 Double </a:t>
            </a:r>
            <a:r>
              <a:rPr lang="de-DE" dirty="0" err="1"/>
              <a:t>Full</a:t>
            </a:r>
            <a:r>
              <a:rPr lang="de-DE" dirty="0"/>
              <a:t>-size AMC Slots</a:t>
            </a:r>
          </a:p>
          <a:p>
            <a:pPr lvl="1"/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3A5ABA-71BC-2F24-BB6D-4070463D6F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509BDD1-F323-2087-83B1-504C6016B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lementa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12 </a:t>
            </a:r>
            <a:r>
              <a:rPr lang="de-DE" dirty="0" err="1"/>
              <a:t>Full</a:t>
            </a:r>
            <a:r>
              <a:rPr lang="de-DE" dirty="0"/>
              <a:t>-size AMC </a:t>
            </a:r>
            <a:r>
              <a:rPr lang="de-DE" dirty="0" err="1"/>
              <a:t>Crates</a:t>
            </a:r>
            <a:r>
              <a:rPr lang="de-DE" dirty="0"/>
              <a:t> in </a:t>
            </a:r>
            <a:r>
              <a:rPr lang="de-DE" dirty="0" err="1"/>
              <a:t>accord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Rev 3.0</a:t>
            </a:r>
            <a:endParaRPr lang="en-US" dirty="0"/>
          </a:p>
        </p:txBody>
      </p:sp>
      <p:pic>
        <p:nvPicPr>
          <p:cNvPr id="116" name="Grafik 115">
            <a:extLst>
              <a:ext uri="{FF2B5EF4-FFF2-40B4-BE49-F238E27FC236}">
                <a16:creationId xmlns:a16="http://schemas.microsoft.com/office/drawing/2014/main" id="{9AFCB00B-DEC8-AEFA-24FA-5912AEE59F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239" y="3046922"/>
            <a:ext cx="4293334" cy="3191266"/>
          </a:xfrm>
          <a:prstGeom prst="rect">
            <a:avLst/>
          </a:prstGeom>
        </p:spPr>
      </p:pic>
      <p:sp>
        <p:nvSpPr>
          <p:cNvPr id="215" name="Inhaltsplatzhalter 5">
            <a:extLst>
              <a:ext uri="{FF2B5EF4-FFF2-40B4-BE49-F238E27FC236}">
                <a16:creationId xmlns:a16="http://schemas.microsoft.com/office/drawing/2014/main" id="{4BD2B326-DE3F-17BF-46AE-F8914368F5C1}"/>
              </a:ext>
            </a:extLst>
          </p:cNvPr>
          <p:cNvSpPr txBox="1">
            <a:spLocks/>
          </p:cNvSpPr>
          <p:nvPr/>
        </p:nvSpPr>
        <p:spPr>
          <a:xfrm>
            <a:off x="4732257" y="1037629"/>
            <a:ext cx="4242062" cy="1942022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lang="en-US" sz="16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ar (Non-redundant version)</a:t>
            </a:r>
          </a:p>
          <a:p>
            <a:pPr lvl="1"/>
            <a:r>
              <a:rPr lang="en-US" dirty="0"/>
              <a:t>1 Double Full-size RPM Slot or PM 180° rotated</a:t>
            </a:r>
          </a:p>
          <a:p>
            <a:pPr lvl="1"/>
            <a:r>
              <a:rPr lang="en-US" dirty="0"/>
              <a:t>1 Double Full-size MCH RTM Slot</a:t>
            </a:r>
          </a:p>
          <a:p>
            <a:pPr lvl="1"/>
            <a:r>
              <a:rPr lang="en-US" dirty="0"/>
              <a:t>12 Double Full-size RTM Slots</a:t>
            </a:r>
          </a:p>
          <a:p>
            <a:pPr lvl="1"/>
            <a:r>
              <a:rPr lang="en-US" dirty="0"/>
              <a:t>1 Single Full-size JSM Slot</a:t>
            </a:r>
          </a:p>
          <a:p>
            <a:pPr lvl="1"/>
            <a:endParaRPr lang="en-US" dirty="0"/>
          </a:p>
        </p:txBody>
      </p:sp>
      <p:sp>
        <p:nvSpPr>
          <p:cNvPr id="216" name="Inhaltsplatzhalter 5">
            <a:extLst>
              <a:ext uri="{FF2B5EF4-FFF2-40B4-BE49-F238E27FC236}">
                <a16:creationId xmlns:a16="http://schemas.microsoft.com/office/drawing/2014/main" id="{F82D05AF-C892-45F4-86C0-AFC1B79D8A00}"/>
              </a:ext>
            </a:extLst>
          </p:cNvPr>
          <p:cNvSpPr txBox="1">
            <a:spLocks/>
          </p:cNvSpPr>
          <p:nvPr/>
        </p:nvSpPr>
        <p:spPr>
          <a:xfrm>
            <a:off x="9228840" y="1037629"/>
            <a:ext cx="2658359" cy="1942022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lang="en-US" sz="16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ossibility for optional RTM Backplane</a:t>
            </a:r>
          </a:p>
          <a:p>
            <a:r>
              <a:rPr lang="en-US" dirty="0"/>
              <a:t>Max 1300 W with DC Power Module</a:t>
            </a:r>
          </a:p>
          <a:p>
            <a:pPr lvl="1"/>
            <a:endParaRPr lang="en-US" dirty="0"/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id="{EBEF8D23-2B41-BF7B-EC02-40CEF92E03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2256" y="3044744"/>
            <a:ext cx="4798244" cy="3253046"/>
          </a:xfrm>
          <a:prstGeom prst="rect">
            <a:avLst/>
          </a:prstGeom>
        </p:spPr>
      </p:pic>
      <p:sp>
        <p:nvSpPr>
          <p:cNvPr id="81" name="Pfeil: nach oben gekrümmt 80">
            <a:extLst>
              <a:ext uri="{FF2B5EF4-FFF2-40B4-BE49-F238E27FC236}">
                <a16:creationId xmlns:a16="http://schemas.microsoft.com/office/drawing/2014/main" id="{58C6CE6C-0AF6-CDE2-4C57-6E17079E758D}"/>
              </a:ext>
            </a:extLst>
          </p:cNvPr>
          <p:cNvSpPr/>
          <p:nvPr/>
        </p:nvSpPr>
        <p:spPr>
          <a:xfrm rot="21440297">
            <a:off x="9050306" y="4814032"/>
            <a:ext cx="649877" cy="344224"/>
          </a:xfrm>
          <a:prstGeom prst="curvedUpArrow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B7F29A93-AB21-E18B-55F9-905C43A7FBC4}"/>
              </a:ext>
            </a:extLst>
          </p:cNvPr>
          <p:cNvGrpSpPr/>
          <p:nvPr/>
        </p:nvGrpSpPr>
        <p:grpSpPr>
          <a:xfrm>
            <a:off x="9607451" y="3014221"/>
            <a:ext cx="2279748" cy="875168"/>
            <a:chOff x="8552239" y="4628560"/>
            <a:chExt cx="3037643" cy="1105675"/>
          </a:xfrm>
        </p:grpSpPr>
        <p:grpSp>
          <p:nvGrpSpPr>
            <p:cNvPr id="225" name="Gruppieren 224">
              <a:extLst>
                <a:ext uri="{FF2B5EF4-FFF2-40B4-BE49-F238E27FC236}">
                  <a16:creationId xmlns:a16="http://schemas.microsoft.com/office/drawing/2014/main" id="{E40A33FE-C259-BE89-C62F-7EA6D9962105}"/>
                </a:ext>
              </a:extLst>
            </p:cNvPr>
            <p:cNvGrpSpPr/>
            <p:nvPr/>
          </p:nvGrpSpPr>
          <p:grpSpPr>
            <a:xfrm>
              <a:off x="8552239" y="4637987"/>
              <a:ext cx="1551482" cy="1096248"/>
              <a:chOff x="7810233" y="2170417"/>
              <a:chExt cx="1551482" cy="1096248"/>
            </a:xfrm>
          </p:grpSpPr>
          <p:sp>
            <p:nvSpPr>
              <p:cNvPr id="229" name="Rechteck 228">
                <a:extLst>
                  <a:ext uri="{FF2B5EF4-FFF2-40B4-BE49-F238E27FC236}">
                    <a16:creationId xmlns:a16="http://schemas.microsoft.com/office/drawing/2014/main" id="{D6C2CB46-20D1-52EC-FAB7-E6826E6C0725}"/>
                  </a:ext>
                </a:extLst>
              </p:cNvPr>
              <p:cNvSpPr/>
              <p:nvPr/>
            </p:nvSpPr>
            <p:spPr>
              <a:xfrm>
                <a:off x="7873370" y="2198698"/>
                <a:ext cx="1340299" cy="1058308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de-DE" sz="1400" dirty="0">
                    <a:solidFill>
                      <a:schemeClr val="tx1"/>
                    </a:solidFill>
                  </a:rPr>
                  <a:t>Double</a:t>
                </a:r>
              </a:p>
              <a:p>
                <a:pPr algn="ctr"/>
                <a:r>
                  <a:rPr lang="de-DE" sz="1400" dirty="0">
                    <a:solidFill>
                      <a:schemeClr val="tx1"/>
                    </a:solidFill>
                  </a:rPr>
                  <a:t>PM</a:t>
                </a:r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0" name="Rechteck 229">
                <a:extLst>
                  <a:ext uri="{FF2B5EF4-FFF2-40B4-BE49-F238E27FC236}">
                    <a16:creationId xmlns:a16="http://schemas.microsoft.com/office/drawing/2014/main" id="{91DC0AD0-8B3E-1555-D858-6D37E6B26916}"/>
                  </a:ext>
                </a:extLst>
              </p:cNvPr>
              <p:cNvSpPr/>
              <p:nvPr/>
            </p:nvSpPr>
            <p:spPr>
              <a:xfrm>
                <a:off x="7810233" y="2170417"/>
                <a:ext cx="54423" cy="1096248"/>
              </a:xfrm>
              <a:prstGeom prst="rect">
                <a:avLst/>
              </a:prstGeom>
              <a:solidFill>
                <a:schemeClr val="accent5">
                  <a:lumMod val="85000"/>
                </a:schemeClr>
              </a:solidFill>
              <a:ln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1" name="Rechteck 230">
                <a:extLst>
                  <a:ext uri="{FF2B5EF4-FFF2-40B4-BE49-F238E27FC236}">
                    <a16:creationId xmlns:a16="http://schemas.microsoft.com/office/drawing/2014/main" id="{7097DE6B-CD8D-0F7F-B84E-C8EAC9BFF999}"/>
                  </a:ext>
                </a:extLst>
              </p:cNvPr>
              <p:cNvSpPr/>
              <p:nvPr/>
            </p:nvSpPr>
            <p:spPr>
              <a:xfrm>
                <a:off x="9305108" y="2198699"/>
                <a:ext cx="56607" cy="1058308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2" name="Rechteck 231">
                <a:extLst>
                  <a:ext uri="{FF2B5EF4-FFF2-40B4-BE49-F238E27FC236}">
                    <a16:creationId xmlns:a16="http://schemas.microsoft.com/office/drawing/2014/main" id="{08238BA6-C046-0316-3825-2E9CE015FEBE}"/>
                  </a:ext>
                </a:extLst>
              </p:cNvPr>
              <p:cNvSpPr/>
              <p:nvPr/>
            </p:nvSpPr>
            <p:spPr>
              <a:xfrm>
                <a:off x="9213669" y="2783160"/>
                <a:ext cx="91439" cy="416460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9A5C5E07-971C-ED7E-E020-9EAC66E6F069}"/>
                </a:ext>
              </a:extLst>
            </p:cNvPr>
            <p:cNvSpPr/>
            <p:nvPr/>
          </p:nvSpPr>
          <p:spPr>
            <a:xfrm rot="10800000">
              <a:off x="10195160" y="4656920"/>
              <a:ext cx="1340299" cy="105830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  <a:p>
              <a:pPr algn="ctr"/>
              <a:r>
                <a:rPr lang="de-DE" sz="1400" dirty="0">
                  <a:solidFill>
                    <a:srgbClr val="C00000"/>
                  </a:solidFill>
                </a:rPr>
                <a:t>Double</a:t>
              </a:r>
            </a:p>
            <a:p>
              <a:pPr algn="ctr"/>
              <a:r>
                <a:rPr lang="de-DE" sz="1400" dirty="0">
                  <a:solidFill>
                    <a:srgbClr val="C00000"/>
                  </a:solidFill>
                </a:rPr>
                <a:t>PM</a:t>
              </a:r>
              <a:endParaRPr lang="en-US" sz="1400" dirty="0" err="1">
                <a:solidFill>
                  <a:srgbClr val="C00000"/>
                </a:solidFill>
              </a:endParaRPr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6F75CA43-F9FC-536D-491C-86C54F1995A0}"/>
                </a:ext>
              </a:extLst>
            </p:cNvPr>
            <p:cNvSpPr/>
            <p:nvPr/>
          </p:nvSpPr>
          <p:spPr>
            <a:xfrm>
              <a:off x="10103721" y="4743702"/>
              <a:ext cx="91439" cy="416460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BB9A711E-E26D-C343-2CC9-96034CCFE286}"/>
                </a:ext>
              </a:extLst>
            </p:cNvPr>
            <p:cNvSpPr/>
            <p:nvPr/>
          </p:nvSpPr>
          <p:spPr>
            <a:xfrm>
              <a:off x="11535459" y="4628560"/>
              <a:ext cx="54423" cy="1096248"/>
            </a:xfrm>
            <a:prstGeom prst="rect">
              <a:avLst/>
            </a:prstGeom>
            <a:solidFill>
              <a:schemeClr val="accent5">
                <a:lumMod val="85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10675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36307119301933488131E+00&quot;&gt;&lt;m_msothmcolidx val=&quot;0&quot;/&gt;&lt;m_rgb r=&quot;F5&quot; g=&quot;E9&quot; b=&quot;CC&quot;/&gt;&lt;m_nBrightness tagver0=&quot;26206&quot; tagname0=&quot;m_nBrightnessUNRECOGNIZED&quot; val=&quot;0&quot;/&gt;&lt;/elem&gt;&lt;elem m_fUsage=&quot;2.95811394226064994228E+00&quot;&gt;&lt;m_msothmcolidx val=&quot;0&quot;/&gt;&lt;m_rgb r=&quot;FF&quot; g=&quot;BD&quot; b=&quot;66&quot;/&gt;&lt;m_nBrightness tagver0=&quot;26206&quot; tagname0=&quot;m_nBrightnessUNRECOGNIZED&quot; val=&quot;0&quot;/&gt;&lt;/elem&gt;&lt;elem m_fUsage=&quot;2.21837769900000036927E+00&quot;&gt;&lt;m_msothmcolidx val=&quot;0&quot;/&gt;&lt;m_rgb r=&quot;AB&quot; g=&quot;83&quot; b=&quot;22&quot;/&gt;&lt;m_nBrightness tagver0=&quot;26206&quot; tagname0=&quot;m_nBrightnessUNRECOGNIZED&quot; val=&quot;0&quot;/&gt;&lt;/elem&gt;&lt;elem m_fUsage=&quot;9.61971159048068291675E-01&quot;&gt;&lt;m_msothmcolidx val=&quot;0&quot;/&gt;&lt;m_rgb r=&quot;B5&quot; g=&quot;7E&quot; b=&quot;57&quot;/&gt;&lt;m_nBrightness tagver0=&quot;26206&quot; tagname0=&quot;m_nBrightnessUNRECOGNIZED&quot; val=&quot;0&quot;/&gt;&lt;/elem&gt;&lt;elem m_fUsage=&quot;1.16945582195002853454E-01&quot;&gt;&lt;m_msothmcolidx val=&quot;0&quot;/&gt;&lt;m_rgb r=&quot;FF&quot; g=&quot;C0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8z45WRHus01avGh.X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MFKs4QSC2sw.JxhLvJ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ttomblack1">
  <a:themeElements>
    <a:clrScheme name="Custom 4">
      <a:dk1>
        <a:srgbClr val="5A5A5A"/>
      </a:dk1>
      <a:lt1>
        <a:srgbClr val="000000"/>
      </a:lt1>
      <a:dk2>
        <a:srgbClr val="EEAF00"/>
      </a:dk2>
      <a:lt2>
        <a:srgbClr val="C4262E"/>
      </a:lt2>
      <a:accent1>
        <a:srgbClr val="FF6237"/>
      </a:accent1>
      <a:accent2>
        <a:srgbClr val="772432"/>
      </a:accent2>
      <a:accent3>
        <a:srgbClr val="3D843C"/>
      </a:accent3>
      <a:accent4>
        <a:srgbClr val="002060"/>
      </a:accent4>
      <a:accent5>
        <a:srgbClr val="FFFFFF"/>
      </a:accent5>
      <a:accent6>
        <a:srgbClr val="000000"/>
      </a:accent6>
      <a:hlink>
        <a:srgbClr val="C4262E"/>
      </a:hlink>
      <a:folHlink>
        <a:srgbClr val="C4262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Draft1-nVent-TEMP-H85699-NewPPTTemplate-EN-2001 - option1-new.potx" id="{C9A1422E-4BE0-42A1-BAFF-8321174CCEA9}" vid="{722088C5-8B15-4848-BB2F-2FDC6B0BB9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776518D458864597E93796ADAE7EFB" ma:contentTypeVersion="19" ma:contentTypeDescription="Create a new document." ma:contentTypeScope="" ma:versionID="89dfb667a72a2c815e3f6e4ce8e8a91b">
  <xsd:schema xmlns:xsd="http://www.w3.org/2001/XMLSchema" xmlns:xs="http://www.w3.org/2001/XMLSchema" xmlns:p="http://schemas.microsoft.com/office/2006/metadata/properties" xmlns:ns2="a89e78e8-2a14-4239-aa26-b8bedcfb8292" xmlns:ns3="3e14e990-a917-40ee-b9c2-bf5a9a2f53f4" xmlns:ns4="a627aead-e673-43e7-a6d0-748d481e96aa" targetNamespace="http://schemas.microsoft.com/office/2006/metadata/properties" ma:root="true" ma:fieldsID="62b0a9bd09c6bc4b04e4c674aa8a4481" ns2:_="" ns3:_="" ns4:_="">
    <xsd:import namespace="a89e78e8-2a14-4239-aa26-b8bedcfb8292"/>
    <xsd:import namespace="3e14e990-a917-40ee-b9c2-bf5a9a2f53f4"/>
    <xsd:import namespace="a627aead-e673-43e7-a6d0-748d481e96a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9e78e8-2a14-4239-aa26-b8bedcfb829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14e990-a917-40ee-b9c2-bf5a9a2f53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61afc70-17ef-48e8-9522-1fbc9f28ec5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27aead-e673-43e7-a6d0-748d481e96aa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111cfa04-f750-41cd-83c3-97adb21fac69}" ma:internalName="TaxCatchAll" ma:showField="CatchAllData" ma:web="a627aead-e673-43e7-a6d0-748d481e96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3e14e990-a917-40ee-b9c2-bf5a9a2f53f4" xsi:nil="true"/>
    <SharedWithUsers xmlns="a89e78e8-2a14-4239-aa26-b8bedcfb8292">
      <UserInfo>
        <DisplayName/>
        <AccountId xsi:nil="true"/>
        <AccountType/>
      </UserInfo>
    </SharedWithUsers>
    <lcf76f155ced4ddcb4097134ff3c332f xmlns="3e14e990-a917-40ee-b9c2-bf5a9a2f53f4">
      <Terms xmlns="http://schemas.microsoft.com/office/infopath/2007/PartnerControls"/>
    </lcf76f155ced4ddcb4097134ff3c332f>
    <TaxCatchAll xmlns="a627aead-e673-43e7-a6d0-748d481e96a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6C6303-218E-46BB-B5BE-74F96412FD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9e78e8-2a14-4239-aa26-b8bedcfb8292"/>
    <ds:schemaRef ds:uri="3e14e990-a917-40ee-b9c2-bf5a9a2f53f4"/>
    <ds:schemaRef ds:uri="a627aead-e673-43e7-a6d0-748d481e96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1ADB305-E294-4EB3-9C3B-43517B28B3E2}">
  <ds:schemaRefs>
    <ds:schemaRef ds:uri="http://purl.org/dc/elements/1.1/"/>
    <ds:schemaRef ds:uri="3e14e990-a917-40ee-b9c2-bf5a9a2f53f4"/>
    <ds:schemaRef ds:uri="http://schemas.microsoft.com/office/2006/documentManagement/types"/>
    <ds:schemaRef ds:uri="a627aead-e673-43e7-a6d0-748d481e96aa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terms/"/>
    <ds:schemaRef ds:uri="a89e78e8-2a14-4239-aa26-b8bedcfb8292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8BA7630-7CDF-4A16-B904-4AB6B376AFA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raft1-nVent-TEMP-H85699-NewPPTTemplate-EN-2001 - option1-new</Template>
  <TotalTime>0</TotalTime>
  <Words>1042</Words>
  <Application>Microsoft Office PowerPoint</Application>
  <PresentationFormat>Breitbild</PresentationFormat>
  <Paragraphs>145</Paragraphs>
  <Slides>1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3" baseType="lpstr">
      <vt:lpstr>Arial</vt:lpstr>
      <vt:lpstr>Calibri</vt:lpstr>
      <vt:lpstr>Courier New</vt:lpstr>
      <vt:lpstr>Roboto</vt:lpstr>
      <vt:lpstr>Roboto Light</vt:lpstr>
      <vt:lpstr>Symbol</vt:lpstr>
      <vt:lpstr>Wingdings</vt:lpstr>
      <vt:lpstr>Bottomblack1</vt:lpstr>
      <vt:lpstr>think-cell Slide</vt:lpstr>
      <vt:lpstr>PowerPoint-Präsentation</vt:lpstr>
      <vt:lpstr>MTCA.4 &amp; MTCA.4.1 Crates</vt:lpstr>
      <vt:lpstr>Requirements for MTCA @ Quantum Control Systems</vt:lpstr>
      <vt:lpstr>Front-Layout of 19“ Crate with 12 Double Full-size AMC Modules</vt:lpstr>
      <vt:lpstr>Rear-Layout of 19“ Crate with 12 Double Full-size AMC Modules</vt:lpstr>
      <vt:lpstr>First Realization, Double Full-size AMC‘s @ MTCA.4 Crate for CMS (2015)</vt:lpstr>
      <vt:lpstr>How would this Crate look like with MTCA.0 Rev. 3.0</vt:lpstr>
      <vt:lpstr>NEW challenge with MTCA.0 Rev 3.0 for Full-size AMC‘s</vt:lpstr>
      <vt:lpstr>Implementations for 12 Full-size AMC Crates in accordance to Rev 3.0</vt:lpstr>
      <vt:lpstr>Implementations for 12 Full-size AMC Crates in accordance to Rev 3.0</vt:lpstr>
      <vt:lpstr>Conclusion</vt:lpstr>
      <vt:lpstr>Liquid Cooling concepts for Crates</vt:lpstr>
      <vt:lpstr>PowerPoint-Präsentation</vt:lpstr>
      <vt:lpstr>Thank You!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tty, Balchandra</dc:creator>
  <cp:lastModifiedBy>Ganninger, Christian</cp:lastModifiedBy>
  <cp:revision>8</cp:revision>
  <cp:lastPrinted>2020-04-20T11:01:46Z</cp:lastPrinted>
  <dcterms:created xsi:type="dcterms:W3CDTF">2020-01-13T08:28:04Z</dcterms:created>
  <dcterms:modified xsi:type="dcterms:W3CDTF">2025-11-28T14:0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776518D458864597E93796ADAE7EFB</vt:lpwstr>
  </property>
  <property fmtid="{D5CDD505-2E9C-101B-9397-08002B2CF9AE}" pid="3" name="_dlc_DocIdItemGuid">
    <vt:lpwstr>1f769750-cc83-42d2-995f-7a9e173941fb</vt:lpwstr>
  </property>
  <property fmtid="{D5CDD505-2E9C-101B-9397-08002B2CF9AE}" pid="4" name="WorkflowChangePath">
    <vt:lpwstr>95c753f0-8d2c-4952-9286-be509eadb32c,3;</vt:lpwstr>
  </property>
  <property fmtid="{D5CDD505-2E9C-101B-9397-08002B2CF9AE}" pid="5" name="PublishUnpublish">
    <vt:lpwstr>Publish</vt:lpwstr>
  </property>
  <property fmtid="{D5CDD505-2E9C-101B-9397-08002B2CF9AE}" pid="6" name="Order">
    <vt:r8>38000</vt:r8>
  </property>
  <property fmtid="{D5CDD505-2E9C-101B-9397-08002B2CF9AE}" pid="7" name="Published URL">
    <vt:lpwstr/>
  </property>
  <property fmtid="{D5CDD505-2E9C-101B-9397-08002B2CF9AE}" pid="8" name="xd_ProgID">
    <vt:lpwstr/>
  </property>
  <property fmtid="{D5CDD505-2E9C-101B-9397-08002B2CF9AE}" pid="9" name="TemplateUrl">
    <vt:lpwstr/>
  </property>
  <property fmtid="{D5CDD505-2E9C-101B-9397-08002B2CF9AE}" pid="10" name="OwlContentTargetOptionsFour">
    <vt:lpwstr/>
  </property>
  <property fmtid="{D5CDD505-2E9C-101B-9397-08002B2CF9AE}" pid="11" name="OwlTags">
    <vt:lpwstr>18;#Brand|441f59e9-6248-42d3-9b5d-5baa1c6fc4f0</vt:lpwstr>
  </property>
  <property fmtid="{D5CDD505-2E9C-101B-9397-08002B2CF9AE}" pid="12" name="OwlDocPortalCategory">
    <vt:lpwstr>23;#Template|98730bab-93a0-4180-80f8-31001bda0551</vt:lpwstr>
  </property>
  <property fmtid="{D5CDD505-2E9C-101B-9397-08002B2CF9AE}" pid="13" name="OwlContentTargetOptionsThree">
    <vt:lpwstr/>
  </property>
  <property fmtid="{D5CDD505-2E9C-101B-9397-08002B2CF9AE}" pid="14" name="OwlContentTargetOptionsTwo">
    <vt:lpwstr/>
  </property>
  <property fmtid="{D5CDD505-2E9C-101B-9397-08002B2CF9AE}" pid="15" name="OwlContentTargetOptionsOne">
    <vt:lpwstr/>
  </property>
  <property fmtid="{D5CDD505-2E9C-101B-9397-08002B2CF9AE}" pid="16" name="ComplianceAssetId">
    <vt:lpwstr/>
  </property>
  <property fmtid="{D5CDD505-2E9C-101B-9397-08002B2CF9AE}" pid="17" name="_ExtendedDescription">
    <vt:lpwstr/>
  </property>
  <property fmtid="{D5CDD505-2E9C-101B-9397-08002B2CF9AE}" pid="18" name="TriggerFlowInfo">
    <vt:lpwstr/>
  </property>
  <property fmtid="{D5CDD505-2E9C-101B-9397-08002B2CF9AE}" pid="19" name="MediaServiceImageTags">
    <vt:lpwstr/>
  </property>
</Properties>
</file>